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301" r:id="rId2"/>
    <p:sldId id="302" r:id="rId3"/>
    <p:sldId id="303" r:id="rId4"/>
  </p:sldIdLst>
  <p:sldSz cx="12192000" cy="6858000"/>
  <p:notesSz cx="9296400" cy="14722475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unningham, Tim (CM-BP2/3)" initials="CT(" lastIdx="7" clrIdx="0">
    <p:extLst>
      <p:ext uri="{19B8F6BF-5375-455C-9EA6-DF929625EA0E}">
        <p15:presenceInfo xmlns:p15="http://schemas.microsoft.com/office/powerpoint/2012/main" userId="S-1-5-21-265179189-4178983682-3729497036-115911" providerId="AD"/>
      </p:ext>
    </p:extLst>
  </p:cmAuthor>
  <p:cmAuthor id="2" name="Alexander, Christopher" initials="AC" lastIdx="22" clrIdx="1">
    <p:extLst>
      <p:ext uri="{19B8F6BF-5375-455C-9EA6-DF929625EA0E}">
        <p15:presenceInfo xmlns:p15="http://schemas.microsoft.com/office/powerpoint/2012/main" userId="S-1-5-21-265179189-4178983682-3729497036-228924" providerId="AD"/>
      </p:ext>
    </p:extLst>
  </p:cmAuthor>
  <p:cmAuthor id="3" name="Houston, Adam" initials="HA" lastIdx="1" clrIdx="2">
    <p:extLst>
      <p:ext uri="{19B8F6BF-5375-455C-9EA6-DF929625EA0E}">
        <p15:presenceInfo xmlns:p15="http://schemas.microsoft.com/office/powerpoint/2012/main" userId="S-1-5-21-265179189-4178983682-3729497036-189850" providerId="AD"/>
      </p:ext>
    </p:extLst>
  </p:cmAuthor>
  <p:cmAuthor id="4" name="Jewell, James" initials="JJ" lastIdx="1" clrIdx="3">
    <p:extLst>
      <p:ext uri="{19B8F6BF-5375-455C-9EA6-DF929625EA0E}">
        <p15:presenceInfo xmlns:p15="http://schemas.microsoft.com/office/powerpoint/2012/main" userId="S-1-5-21-265179189-4178983682-3729497036-2681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663300"/>
    <a:srgbClr val="99FF66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76" autoAdjust="0"/>
    <p:restoredTop sz="94767" autoAdjust="0"/>
  </p:normalViewPr>
  <p:slideViewPr>
    <p:cSldViewPr snapToGrid="0">
      <p:cViewPr varScale="1">
        <p:scale>
          <a:sx n="109" d="100"/>
          <a:sy n="109" d="100"/>
        </p:scale>
        <p:origin x="109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19-08-01T10:40:55.229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19-08-01T10:40:55.229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4029073" cy="738186"/>
          </a:xfrm>
          <a:prstGeom prst="rect">
            <a:avLst/>
          </a:prstGeom>
        </p:spPr>
        <p:txBody>
          <a:bodyPr vert="horz" lIns="90900" tIns="45451" rIns="90900" bIns="454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741" y="3"/>
            <a:ext cx="4029073" cy="738186"/>
          </a:xfrm>
          <a:prstGeom prst="rect">
            <a:avLst/>
          </a:prstGeom>
        </p:spPr>
        <p:txBody>
          <a:bodyPr vert="horz" lIns="90900" tIns="45451" rIns="90900" bIns="45451" rtlCol="0"/>
          <a:lstStyle>
            <a:lvl1pPr algn="r">
              <a:defRPr sz="1200"/>
            </a:lvl1pPr>
          </a:lstStyle>
          <a:p>
            <a:fld id="{5D0A1133-8E6C-43F7-B5CB-16C71DD2753B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363" y="1839913"/>
            <a:ext cx="8829675" cy="49672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00" tIns="45451" rIns="90900" bIns="4545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276" y="7085014"/>
            <a:ext cx="7435850" cy="5797551"/>
          </a:xfrm>
          <a:prstGeom prst="rect">
            <a:avLst/>
          </a:prstGeom>
        </p:spPr>
        <p:txBody>
          <a:bodyPr vert="horz" lIns="90900" tIns="45451" rIns="90900" bIns="45451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13984290"/>
            <a:ext cx="4029073" cy="738186"/>
          </a:xfrm>
          <a:prstGeom prst="rect">
            <a:avLst/>
          </a:prstGeom>
        </p:spPr>
        <p:txBody>
          <a:bodyPr vert="horz" lIns="90900" tIns="45451" rIns="90900" bIns="454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741" y="13984290"/>
            <a:ext cx="4029073" cy="738186"/>
          </a:xfrm>
          <a:prstGeom prst="rect">
            <a:avLst/>
          </a:prstGeom>
        </p:spPr>
        <p:txBody>
          <a:bodyPr vert="horz" lIns="90900" tIns="45451" rIns="90900" bIns="45451" rtlCol="0" anchor="b"/>
          <a:lstStyle>
            <a:lvl1pPr algn="r">
              <a:defRPr sz="1200"/>
            </a:lvl1pPr>
          </a:lstStyle>
          <a:p>
            <a:fld id="{15EEB18D-91E8-4B60-894D-7431C95D10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304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EEB18D-91E8-4B60-894D-7431C95D107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33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EEB18D-91E8-4B60-894D-7431C95D107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093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EEB18D-91E8-4B60-894D-7431C95D107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407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423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199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259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386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6" t="6933" r="3757"/>
          <a:stretch/>
        </p:blipFill>
        <p:spPr>
          <a:xfrm>
            <a:off x="152400" y="685062"/>
            <a:ext cx="11887200" cy="5487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1395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343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330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106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179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2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0413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091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1359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11D4E-1809-4E78-9888-6E5915B18F21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C9D4B5-002F-4813-9F3B-655890547E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780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omments" Target="../comments/commen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1" name="Straight Connector 160"/>
          <p:cNvCxnSpPr/>
          <p:nvPr/>
        </p:nvCxnSpPr>
        <p:spPr>
          <a:xfrm>
            <a:off x="1553137" y="2382501"/>
            <a:ext cx="27087" cy="2825291"/>
          </a:xfrm>
          <a:prstGeom prst="line">
            <a:avLst/>
          </a:prstGeom>
          <a:ln w="139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605031"/>
          </a:xfrm>
        </p:spPr>
        <p:txBody>
          <a:bodyPr>
            <a:noAutofit/>
          </a:bodyPr>
          <a:lstStyle/>
          <a:p>
            <a:pPr algn="ctr"/>
            <a:r>
              <a:rPr lang="en-US" sz="4800" b="1" u="sng" dirty="0" smtClean="0">
                <a:latin typeface="Calibri" panose="020F0502020204030204" pitchFamily="34" charset="0"/>
              </a:rPr>
              <a:t>Sealant Pad Number Locations</a:t>
            </a:r>
            <a:endParaRPr lang="en-US" sz="4800" b="1" u="sng" dirty="0"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2756" y="3000894"/>
            <a:ext cx="640080" cy="1579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32756" y="3118728"/>
            <a:ext cx="6400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ealant Pickup Rollers</a:t>
            </a:r>
            <a:endParaRPr lang="en-US" sz="1000" b="1" dirty="0"/>
          </a:p>
        </p:txBody>
      </p:sp>
      <p:sp>
        <p:nvSpPr>
          <p:cNvPr id="7" name="Rectangle 6"/>
          <p:cNvSpPr/>
          <p:nvPr/>
        </p:nvSpPr>
        <p:spPr>
          <a:xfrm>
            <a:off x="3671890" y="2881313"/>
            <a:ext cx="221457" cy="102393"/>
          </a:xfrm>
          <a:prstGeom prst="rect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rved Left Arrow 7"/>
          <p:cNvSpPr/>
          <p:nvPr/>
        </p:nvSpPr>
        <p:spPr>
          <a:xfrm flipV="1">
            <a:off x="3957471" y="2896201"/>
            <a:ext cx="185234" cy="336095"/>
          </a:xfrm>
          <a:prstGeom prst="curvedLef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43798" y="2951806"/>
            <a:ext cx="582895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Wire Pickup</a:t>
            </a:r>
            <a:endParaRPr lang="en-US" sz="1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929049" y="5086515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752836" y="5086514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314686" y="5091275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455180" y="4736471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4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278967" y="4736470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726641" y="4563992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962384" y="4376905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962384" y="4241174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805166" y="3754284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726642" y="4736469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4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12317" y="4271016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12317" y="4135285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805165" y="3220569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6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805165" y="3010216"/>
            <a:ext cx="157051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05165" y="283281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06078" y="300089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109965" y="313761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4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805220" y="2510070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378894" y="2663277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382781" y="279999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4162412" y="2381009"/>
            <a:ext cx="206279" cy="411650"/>
          </a:xfrm>
          <a:prstGeom prst="rect">
            <a:avLst/>
          </a:prstGeom>
          <a:noFill/>
          <a:ln w="19050">
            <a:noFill/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sz="1000" b="1" dirty="0" smtClean="0"/>
              <a:t>Team Room</a:t>
            </a:r>
            <a:endParaRPr lang="en-US" sz="10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4704298" y="239355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3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629838" y="268347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2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010367" y="286419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322589" y="315883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0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227596" y="358015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498972" y="387080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6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917524" y="340075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5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306040" y="3870800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7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057035" y="387079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841399" y="387079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108983" y="435890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3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893347" y="435890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20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3811675" y="5082941"/>
            <a:ext cx="846577" cy="0"/>
          </a:xfrm>
          <a:prstGeom prst="line">
            <a:avLst/>
          </a:prstGeom>
          <a:ln w="155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>
            <a:off x="3443799" y="4792203"/>
            <a:ext cx="407765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830527" y="4774837"/>
            <a:ext cx="8248" cy="298242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388419" y="487258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8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954191" y="487258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446991" y="4619952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7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690982" y="462453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42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892838" y="469315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40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937257" y="455469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4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797140" y="4428650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6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797140" y="4630510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64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797140" y="479303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6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814741" y="409689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5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5041633" y="409538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4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121189" y="454627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20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121189" y="467733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10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121189" y="480598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0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335634" y="360367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55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25841" y="285317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00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392011" y="285317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3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736254" y="260501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10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736253" y="275183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20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283628" y="285317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60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046517" y="260501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74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8046516" y="275183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70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678791" y="347585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50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040741" y="363256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00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438383" y="360036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16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564026" y="384506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20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7875285" y="384384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30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103832" y="3595417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44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372939" y="359541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48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9082936" y="407702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60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8622970" y="433542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40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8622969" y="457225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00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8289517" y="493084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00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9082936" y="525448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20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9082936" y="390692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70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732462" y="4088542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20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8086583" y="408731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830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9082936" y="5787261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30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9882013" y="507384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90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9619638" y="583635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54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9528660" y="5542055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60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528661" y="5405496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70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342975" y="567861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40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9619638" y="569979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50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9235007" y="3417284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00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9235007" y="356715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30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9686470" y="3417283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20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9686469" y="3564432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40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9235006" y="4320670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60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9235006" y="4477271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80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9686468" y="431913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70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9686467" y="4475420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190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9838478" y="3905193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10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9838478" y="4077026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00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10308396" y="3137612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50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10351293" y="330615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60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10350258" y="3701704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80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10350258" y="3972789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90</a:t>
            </a:r>
          </a:p>
        </p:txBody>
      </p:sp>
      <p:cxnSp>
        <p:nvCxnSpPr>
          <p:cNvPr id="130" name="Straight Connector 129"/>
          <p:cNvCxnSpPr/>
          <p:nvPr/>
        </p:nvCxnSpPr>
        <p:spPr>
          <a:xfrm flipH="1">
            <a:off x="10210078" y="3469045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H="1">
            <a:off x="10212419" y="4310061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/>
          <p:nvPr/>
        </p:nvSpPr>
        <p:spPr>
          <a:xfrm>
            <a:off x="11059796" y="3963451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20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11441216" y="3961492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30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0029033" y="2823943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60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10916971" y="337667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90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11204899" y="337667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80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11380617" y="3579971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70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1549983" y="337558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60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11380617" y="3712413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350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9036096" y="2475338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20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8779313" y="283121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00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9838478" y="2478724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040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11580897" y="2165079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00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11583728" y="179967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10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11580896" y="159199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20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11580896" y="1236452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30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11061437" y="126853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50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0637608" y="1268537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70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11061437" y="153326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40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10637608" y="153326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60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11061437" y="1860384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110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10637608" y="1860384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90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11061437" y="212988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100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10637608" y="2129885"/>
            <a:ext cx="279363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080</a:t>
            </a:r>
          </a:p>
        </p:txBody>
      </p:sp>
      <p:cxnSp>
        <p:nvCxnSpPr>
          <p:cNvPr id="157" name="Straight Connector 156"/>
          <p:cNvCxnSpPr/>
          <p:nvPr/>
        </p:nvCxnSpPr>
        <p:spPr>
          <a:xfrm flipH="1">
            <a:off x="316523" y="2634748"/>
            <a:ext cx="1830366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304537" y="2312963"/>
            <a:ext cx="11136" cy="357787"/>
          </a:xfrm>
          <a:prstGeom prst="line">
            <a:avLst/>
          </a:prstGeom>
          <a:ln w="666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H="1">
            <a:off x="1016481" y="2342735"/>
            <a:ext cx="11557" cy="203466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 flipV="1">
            <a:off x="979348" y="4354340"/>
            <a:ext cx="1172090" cy="4563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rved Left Arrow 5"/>
          <p:cNvSpPr/>
          <p:nvPr/>
        </p:nvSpPr>
        <p:spPr>
          <a:xfrm flipV="1">
            <a:off x="955964" y="3022500"/>
            <a:ext cx="282632" cy="453043"/>
          </a:xfrm>
          <a:prstGeom prst="curvedLef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5" name="Title 2"/>
          <p:cNvSpPr txBox="1">
            <a:spLocks/>
          </p:cNvSpPr>
          <p:nvPr/>
        </p:nvSpPr>
        <p:spPr>
          <a:xfrm>
            <a:off x="0" y="6252282"/>
            <a:ext cx="12192000" cy="605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u="sng" dirty="0" smtClean="0"/>
              <a:t>Updated 01/23/2019</a:t>
            </a:r>
            <a:endParaRPr lang="en-US" sz="2800" u="sng" dirty="0"/>
          </a:p>
        </p:txBody>
      </p:sp>
      <p:sp>
        <p:nvSpPr>
          <p:cNvPr id="2" name="TextBox 1"/>
          <p:cNvSpPr txBox="1"/>
          <p:nvPr/>
        </p:nvSpPr>
        <p:spPr>
          <a:xfrm>
            <a:off x="5823575" y="2530586"/>
            <a:ext cx="1148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Right</a:t>
            </a:r>
            <a:endParaRPr lang="en-US" sz="1000" b="1" dirty="0"/>
          </a:p>
        </p:txBody>
      </p:sp>
      <p:sp>
        <p:nvSpPr>
          <p:cNvPr id="163" name="TextBox 162"/>
          <p:cNvSpPr txBox="1"/>
          <p:nvPr/>
        </p:nvSpPr>
        <p:spPr>
          <a:xfrm>
            <a:off x="7203110" y="1862703"/>
            <a:ext cx="9509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Inners - Coupe</a:t>
            </a:r>
            <a:endParaRPr lang="en-US" sz="1000" b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7400265" y="3263224"/>
            <a:ext cx="15583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2</a:t>
            </a:r>
            <a:endParaRPr lang="en-US" sz="1000" b="1" dirty="0"/>
          </a:p>
        </p:txBody>
      </p:sp>
      <p:sp>
        <p:nvSpPr>
          <p:cNvPr id="165" name="TextBox 164"/>
          <p:cNvSpPr txBox="1"/>
          <p:nvPr/>
        </p:nvSpPr>
        <p:spPr>
          <a:xfrm>
            <a:off x="7560131" y="4376903"/>
            <a:ext cx="1554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4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5386388" y="5098732"/>
            <a:ext cx="3524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Closure Line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7215076" y="4804437"/>
            <a:ext cx="1554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5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8390129" y="3143929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80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8659236" y="314392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690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8943981" y="2572224"/>
            <a:ext cx="10999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Body Side Outers</a:t>
            </a:r>
            <a:endParaRPr lang="en-US" sz="1000" b="1" dirty="0"/>
          </a:p>
        </p:txBody>
      </p:sp>
      <p:sp>
        <p:nvSpPr>
          <p:cNvPr id="171" name="TextBox 170"/>
          <p:cNvSpPr txBox="1"/>
          <p:nvPr/>
        </p:nvSpPr>
        <p:spPr>
          <a:xfrm>
            <a:off x="10068881" y="1619354"/>
            <a:ext cx="9877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A2 Door Lines</a:t>
            </a:r>
            <a:endParaRPr lang="en-US" sz="1000" b="1" dirty="0"/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2548" y="1536495"/>
            <a:ext cx="492443" cy="74696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Coupe Outers</a:t>
            </a:r>
            <a:endParaRPr lang="en-US" sz="1000" b="1" dirty="0"/>
          </a:p>
        </p:txBody>
      </p:sp>
      <p:sp>
        <p:nvSpPr>
          <p:cNvPr id="172" name="TextBox 171"/>
          <p:cNvSpPr txBox="1"/>
          <p:nvPr/>
        </p:nvSpPr>
        <p:spPr>
          <a:xfrm>
            <a:off x="8012590" y="3885014"/>
            <a:ext cx="10764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3</a:t>
            </a:r>
            <a:endParaRPr lang="en-US" sz="1000" b="1" dirty="0"/>
          </a:p>
        </p:txBody>
      </p:sp>
      <p:sp>
        <p:nvSpPr>
          <p:cNvPr id="173" name="TextBox 172"/>
          <p:cNvSpPr txBox="1"/>
          <p:nvPr/>
        </p:nvSpPr>
        <p:spPr>
          <a:xfrm>
            <a:off x="4691717" y="4195994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2</a:t>
            </a:r>
            <a:endParaRPr lang="en-US" sz="1000" b="1" dirty="0"/>
          </a:p>
        </p:txBody>
      </p:sp>
      <p:sp>
        <p:nvSpPr>
          <p:cNvPr id="174" name="TextBox 173"/>
          <p:cNvSpPr txBox="1"/>
          <p:nvPr/>
        </p:nvSpPr>
        <p:spPr>
          <a:xfrm>
            <a:off x="4693543" y="3698525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</a:t>
            </a:r>
            <a:endParaRPr lang="en-US" sz="1000" b="1" dirty="0"/>
          </a:p>
        </p:txBody>
      </p:sp>
      <p:sp>
        <p:nvSpPr>
          <p:cNvPr id="175" name="TextBox 174"/>
          <p:cNvSpPr txBox="1"/>
          <p:nvPr/>
        </p:nvSpPr>
        <p:spPr>
          <a:xfrm>
            <a:off x="9882013" y="532804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780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6800970" y="2910106"/>
            <a:ext cx="338554" cy="95745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Framer 1</a:t>
            </a:r>
            <a:endParaRPr lang="en-US" sz="10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034861" y="3058391"/>
            <a:ext cx="5150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Doors</a:t>
            </a:r>
            <a:endParaRPr lang="en-US" sz="1000" b="1" dirty="0"/>
          </a:p>
        </p:txBody>
      </p:sp>
      <p:sp>
        <p:nvSpPr>
          <p:cNvPr id="177" name="TextBox 176"/>
          <p:cNvSpPr txBox="1"/>
          <p:nvPr/>
        </p:nvSpPr>
        <p:spPr>
          <a:xfrm>
            <a:off x="9596889" y="3048890"/>
            <a:ext cx="5577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Left Doors</a:t>
            </a:r>
            <a:endParaRPr lang="en-US" sz="1000" b="1" dirty="0"/>
          </a:p>
        </p:txBody>
      </p:sp>
      <p:sp>
        <p:nvSpPr>
          <p:cNvPr id="178" name="TextBox 177"/>
          <p:cNvSpPr txBox="1"/>
          <p:nvPr/>
        </p:nvSpPr>
        <p:spPr>
          <a:xfrm>
            <a:off x="2857643" y="3222946"/>
            <a:ext cx="492443" cy="4118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179" name="TextBox 178"/>
          <p:cNvSpPr txBox="1"/>
          <p:nvPr/>
        </p:nvSpPr>
        <p:spPr>
          <a:xfrm rot="16200000">
            <a:off x="2321616" y="4718679"/>
            <a:ext cx="338554" cy="53722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Tunnel</a:t>
            </a:r>
            <a:endParaRPr lang="en-US" sz="1000" b="1" dirty="0"/>
          </a:p>
        </p:txBody>
      </p:sp>
      <p:sp>
        <p:nvSpPr>
          <p:cNvPr id="180" name="TextBox 179"/>
          <p:cNvSpPr txBox="1"/>
          <p:nvPr/>
        </p:nvSpPr>
        <p:spPr>
          <a:xfrm rot="16200000">
            <a:off x="2796696" y="3796187"/>
            <a:ext cx="338554" cy="57513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A-Pillars</a:t>
            </a:r>
            <a:endParaRPr lang="en-US" sz="1050" b="1" dirty="0"/>
          </a:p>
        </p:txBody>
      </p:sp>
      <p:sp>
        <p:nvSpPr>
          <p:cNvPr id="181" name="TextBox 180"/>
          <p:cNvSpPr txBox="1"/>
          <p:nvPr/>
        </p:nvSpPr>
        <p:spPr>
          <a:xfrm>
            <a:off x="3061417" y="4093770"/>
            <a:ext cx="338554" cy="8882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2" name="TextBox 181"/>
          <p:cNvSpPr txBox="1"/>
          <p:nvPr/>
        </p:nvSpPr>
        <p:spPr>
          <a:xfrm>
            <a:off x="2147118" y="3018786"/>
            <a:ext cx="338554" cy="114195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ails </a:t>
            </a:r>
            <a:r>
              <a:rPr lang="en-US" sz="1000" b="1" dirty="0"/>
              <a:t>&amp; </a:t>
            </a:r>
            <a:r>
              <a:rPr lang="en-US" sz="1000" b="1" dirty="0" err="1"/>
              <a:t>Träger</a:t>
            </a:r>
            <a:endParaRPr lang="en-US" sz="1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719685" y="3930940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3" name="TextBox 182"/>
          <p:cNvSpPr txBox="1"/>
          <p:nvPr/>
        </p:nvSpPr>
        <p:spPr>
          <a:xfrm>
            <a:off x="3363820" y="3510945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Rail</a:t>
            </a:r>
            <a:endParaRPr lang="en-US" sz="1000" b="1" dirty="0"/>
          </a:p>
        </p:txBody>
      </p:sp>
      <p:sp>
        <p:nvSpPr>
          <p:cNvPr id="184" name="TextBox 183"/>
          <p:cNvSpPr txBox="1"/>
          <p:nvPr/>
        </p:nvSpPr>
        <p:spPr>
          <a:xfrm>
            <a:off x="3731150" y="3218996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185" name="TextBox 184"/>
          <p:cNvSpPr txBox="1"/>
          <p:nvPr/>
        </p:nvSpPr>
        <p:spPr>
          <a:xfrm>
            <a:off x="4331708" y="2459305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 Rails</a:t>
            </a:r>
            <a:endParaRPr lang="en-US" sz="1000" b="1" dirty="0"/>
          </a:p>
        </p:txBody>
      </p:sp>
      <p:sp>
        <p:nvSpPr>
          <p:cNvPr id="186" name="TextBox 185"/>
          <p:cNvSpPr txBox="1"/>
          <p:nvPr/>
        </p:nvSpPr>
        <p:spPr>
          <a:xfrm>
            <a:off x="4052386" y="4433343"/>
            <a:ext cx="5112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Dash</a:t>
            </a:r>
            <a:endParaRPr lang="en-US" sz="1050" b="1" dirty="0"/>
          </a:p>
        </p:txBody>
      </p:sp>
      <p:sp>
        <p:nvSpPr>
          <p:cNvPr id="188" name="TextBox 187"/>
          <p:cNvSpPr txBox="1"/>
          <p:nvPr/>
        </p:nvSpPr>
        <p:spPr>
          <a:xfrm>
            <a:off x="5350469" y="3056998"/>
            <a:ext cx="338554" cy="61992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err="1" smtClean="0"/>
              <a:t>Respot</a:t>
            </a:r>
            <a:r>
              <a:rPr lang="en-US" sz="1000" b="1" dirty="0" smtClean="0"/>
              <a:t> 1</a:t>
            </a:r>
            <a:endParaRPr lang="en-US" sz="1000" b="1" dirty="0"/>
          </a:p>
        </p:txBody>
      </p:sp>
      <p:sp>
        <p:nvSpPr>
          <p:cNvPr id="189" name="TextBox 188"/>
          <p:cNvSpPr txBox="1"/>
          <p:nvPr/>
        </p:nvSpPr>
        <p:spPr>
          <a:xfrm>
            <a:off x="10893535" y="3416406"/>
            <a:ext cx="5150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416 Hood Hatch</a:t>
            </a:r>
            <a:endParaRPr lang="en-US" sz="1000" b="1" dirty="0"/>
          </a:p>
        </p:txBody>
      </p:sp>
      <p:sp>
        <p:nvSpPr>
          <p:cNvPr id="190" name="TextBox 189"/>
          <p:cNvSpPr txBox="1"/>
          <p:nvPr/>
        </p:nvSpPr>
        <p:spPr>
          <a:xfrm>
            <a:off x="10161588" y="3776094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PSD</a:t>
            </a:r>
            <a:endParaRPr lang="en-US" sz="1000" b="1" dirty="0"/>
          </a:p>
        </p:txBody>
      </p:sp>
      <p:sp>
        <p:nvSpPr>
          <p:cNvPr id="191" name="TextBox 190"/>
          <p:cNvSpPr txBox="1"/>
          <p:nvPr/>
        </p:nvSpPr>
        <p:spPr>
          <a:xfrm rot="5400000">
            <a:off x="9626272" y="5616622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ood</a:t>
            </a:r>
            <a:endParaRPr lang="en-US" sz="1000" b="1" dirty="0"/>
          </a:p>
        </p:txBody>
      </p:sp>
      <p:sp>
        <p:nvSpPr>
          <p:cNvPr id="192" name="TextBox 191"/>
          <p:cNvSpPr txBox="1"/>
          <p:nvPr/>
        </p:nvSpPr>
        <p:spPr>
          <a:xfrm>
            <a:off x="9592383" y="5133336"/>
            <a:ext cx="6319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enders</a:t>
            </a:r>
            <a:endParaRPr lang="en-US" sz="1000" b="1" dirty="0"/>
          </a:p>
        </p:txBody>
      </p:sp>
      <p:sp>
        <p:nvSpPr>
          <p:cNvPr id="193" name="TextBox 192"/>
          <p:cNvSpPr txBox="1"/>
          <p:nvPr/>
        </p:nvSpPr>
        <p:spPr>
          <a:xfrm rot="5400000">
            <a:off x="9121032" y="5321455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atch</a:t>
            </a:r>
            <a:endParaRPr lang="en-US" sz="1000" b="1" dirty="0"/>
          </a:p>
        </p:txBody>
      </p:sp>
      <p:sp>
        <p:nvSpPr>
          <p:cNvPr id="194" name="TextBox 193"/>
          <p:cNvSpPr txBox="1"/>
          <p:nvPr/>
        </p:nvSpPr>
        <p:spPr>
          <a:xfrm>
            <a:off x="6890433" y="2525469"/>
            <a:ext cx="960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Left</a:t>
            </a:r>
            <a:endParaRPr lang="en-US" sz="1000" b="1" dirty="0"/>
          </a:p>
        </p:txBody>
      </p:sp>
      <p:sp>
        <p:nvSpPr>
          <p:cNvPr id="195" name="TextBox 194"/>
          <p:cNvSpPr txBox="1"/>
          <p:nvPr/>
        </p:nvSpPr>
        <p:spPr>
          <a:xfrm>
            <a:off x="1678478" y="508664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6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1675434" y="4858368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7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02581" y="4984338"/>
            <a:ext cx="333375" cy="911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548807" y="4905368"/>
            <a:ext cx="502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NMS</a:t>
            </a:r>
            <a:endParaRPr lang="en-US" sz="1000" b="1" dirty="0"/>
          </a:p>
        </p:txBody>
      </p:sp>
      <p:sp>
        <p:nvSpPr>
          <p:cNvPr id="20" name="Rectangle 19"/>
          <p:cNvSpPr/>
          <p:nvPr/>
        </p:nvSpPr>
        <p:spPr>
          <a:xfrm>
            <a:off x="1553137" y="4852986"/>
            <a:ext cx="420919" cy="35004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4051775" y="2381009"/>
            <a:ext cx="426325" cy="406477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TextBox 196"/>
          <p:cNvSpPr txBox="1"/>
          <p:nvPr/>
        </p:nvSpPr>
        <p:spPr>
          <a:xfrm>
            <a:off x="11334335" y="2409368"/>
            <a:ext cx="5780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oupe  Hatch</a:t>
            </a:r>
            <a:endParaRPr lang="en-US" sz="1000" b="1" dirty="0"/>
          </a:p>
        </p:txBody>
      </p:sp>
      <p:sp>
        <p:nvSpPr>
          <p:cNvPr id="187" name="TextBox 186"/>
          <p:cNvSpPr txBox="1"/>
          <p:nvPr/>
        </p:nvSpPr>
        <p:spPr>
          <a:xfrm>
            <a:off x="3106077" y="2853133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12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7732461" y="2129884"/>
            <a:ext cx="280129" cy="84799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410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8147513" y="2063328"/>
            <a:ext cx="288589" cy="83629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420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7538495" y="1794265"/>
            <a:ext cx="280129" cy="80214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400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9514475" y="1440503"/>
            <a:ext cx="280129" cy="91664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210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9698413" y="1605999"/>
            <a:ext cx="280129" cy="93500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3200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10870928" y="2525804"/>
            <a:ext cx="280129" cy="87098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20</a:t>
            </a:r>
          </a:p>
        </p:txBody>
      </p:sp>
      <p:sp>
        <p:nvSpPr>
          <p:cNvPr id="204" name="TextBox 203"/>
          <p:cNvSpPr txBox="1"/>
          <p:nvPr/>
        </p:nvSpPr>
        <p:spPr>
          <a:xfrm>
            <a:off x="11172664" y="2530586"/>
            <a:ext cx="280129" cy="84586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00</a:t>
            </a:r>
          </a:p>
        </p:txBody>
      </p:sp>
      <p:sp>
        <p:nvSpPr>
          <p:cNvPr id="205" name="TextBox 204"/>
          <p:cNvSpPr txBox="1"/>
          <p:nvPr/>
        </p:nvSpPr>
        <p:spPr>
          <a:xfrm>
            <a:off x="11172664" y="2622123"/>
            <a:ext cx="280129" cy="86920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10</a:t>
            </a:r>
          </a:p>
        </p:txBody>
      </p:sp>
      <p:sp>
        <p:nvSpPr>
          <p:cNvPr id="206" name="TextBox 205"/>
          <p:cNvSpPr txBox="1"/>
          <p:nvPr/>
        </p:nvSpPr>
        <p:spPr>
          <a:xfrm>
            <a:off x="11528356" y="2868354"/>
            <a:ext cx="280129" cy="94485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40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11240169" y="2870421"/>
            <a:ext cx="280129" cy="92418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2830</a:t>
            </a:r>
          </a:p>
        </p:txBody>
      </p:sp>
      <p:sp>
        <p:nvSpPr>
          <p:cNvPr id="11" name="Flowchart: Connector 10"/>
          <p:cNvSpPr/>
          <p:nvPr/>
        </p:nvSpPr>
        <p:spPr>
          <a:xfrm>
            <a:off x="2552120" y="5481027"/>
            <a:ext cx="910908" cy="844880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Start Route here</a:t>
            </a:r>
            <a:endParaRPr lang="en-US" sz="1000" dirty="0"/>
          </a:p>
        </p:txBody>
      </p:sp>
      <p:cxnSp>
        <p:nvCxnSpPr>
          <p:cNvPr id="22" name="Straight Arrow Connector 21"/>
          <p:cNvCxnSpPr>
            <a:stCxn id="11" idx="0"/>
            <a:endCxn id="10" idx="2"/>
          </p:cNvCxnSpPr>
          <p:nvPr/>
        </p:nvCxnSpPr>
        <p:spPr>
          <a:xfrm flipV="1">
            <a:off x="3007574" y="5203032"/>
            <a:ext cx="1" cy="27799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Flowchart: Connector 207"/>
          <p:cNvSpPr/>
          <p:nvPr/>
        </p:nvSpPr>
        <p:spPr>
          <a:xfrm>
            <a:off x="7829133" y="1007519"/>
            <a:ext cx="910908" cy="844880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nd Route here</a:t>
            </a:r>
            <a:endParaRPr lang="en-US" sz="1000" dirty="0"/>
          </a:p>
        </p:txBody>
      </p:sp>
      <p:cxnSp>
        <p:nvCxnSpPr>
          <p:cNvPr id="209" name="Straight Arrow Connector 208"/>
          <p:cNvCxnSpPr>
            <a:stCxn id="208" idx="4"/>
            <a:endCxn id="199" idx="0"/>
          </p:cNvCxnSpPr>
          <p:nvPr/>
        </p:nvCxnSpPr>
        <p:spPr>
          <a:xfrm>
            <a:off x="8284587" y="1852399"/>
            <a:ext cx="7221" cy="21092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/>
          <p:cNvSpPr txBox="1"/>
          <p:nvPr/>
        </p:nvSpPr>
        <p:spPr>
          <a:xfrm>
            <a:off x="8550607" y="3439484"/>
            <a:ext cx="185685" cy="116517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950</a:t>
            </a:r>
            <a:endParaRPr lang="en-US" sz="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87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1" name="Straight Connector 160"/>
          <p:cNvCxnSpPr/>
          <p:nvPr/>
        </p:nvCxnSpPr>
        <p:spPr>
          <a:xfrm>
            <a:off x="1553137" y="2382501"/>
            <a:ext cx="27087" cy="2825291"/>
          </a:xfrm>
          <a:prstGeom prst="line">
            <a:avLst/>
          </a:prstGeom>
          <a:ln w="139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605031"/>
          </a:xfrm>
        </p:spPr>
        <p:txBody>
          <a:bodyPr>
            <a:noAutofit/>
          </a:bodyPr>
          <a:lstStyle/>
          <a:p>
            <a:pPr algn="ctr"/>
            <a:r>
              <a:rPr lang="en-US" sz="4800" b="1" u="sng" dirty="0" smtClean="0">
                <a:latin typeface="Calibri" panose="020F0502020204030204" pitchFamily="34" charset="0"/>
              </a:rPr>
              <a:t>Weld Wire Locations</a:t>
            </a:r>
            <a:endParaRPr lang="en-US" sz="4800" b="1" u="sng" dirty="0"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2756" y="3000894"/>
            <a:ext cx="640080" cy="1579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32756" y="3118728"/>
            <a:ext cx="6400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ealant Pickup Rollers</a:t>
            </a:r>
            <a:endParaRPr lang="en-US" sz="1000" b="1" dirty="0"/>
          </a:p>
        </p:txBody>
      </p:sp>
      <p:sp>
        <p:nvSpPr>
          <p:cNvPr id="7" name="Rectangle 6"/>
          <p:cNvSpPr/>
          <p:nvPr/>
        </p:nvSpPr>
        <p:spPr>
          <a:xfrm>
            <a:off x="3671890" y="2881313"/>
            <a:ext cx="221457" cy="102393"/>
          </a:xfrm>
          <a:prstGeom prst="rect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rved Left Arrow 7"/>
          <p:cNvSpPr/>
          <p:nvPr/>
        </p:nvSpPr>
        <p:spPr>
          <a:xfrm flipV="1">
            <a:off x="3957471" y="2896201"/>
            <a:ext cx="185234" cy="336095"/>
          </a:xfrm>
          <a:prstGeom prst="curvedLef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43798" y="2951806"/>
            <a:ext cx="582895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Wire Pickup</a:t>
            </a:r>
            <a:endParaRPr lang="en-US" sz="1000" b="1" dirty="0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4162412" y="2381009"/>
            <a:ext cx="206279" cy="411650"/>
          </a:xfrm>
          <a:prstGeom prst="rect">
            <a:avLst/>
          </a:prstGeom>
          <a:noFill/>
          <a:ln w="19050">
            <a:noFill/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sz="1000" b="1" dirty="0" smtClean="0"/>
              <a:t>Team Room</a:t>
            </a:r>
            <a:endParaRPr lang="en-US" sz="1000" b="1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3811675" y="5082941"/>
            <a:ext cx="846577" cy="0"/>
          </a:xfrm>
          <a:prstGeom prst="line">
            <a:avLst/>
          </a:prstGeom>
          <a:ln w="155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>
            <a:off x="3443799" y="4792203"/>
            <a:ext cx="407765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830527" y="4774837"/>
            <a:ext cx="8248" cy="298242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10210078" y="3469045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H="1">
            <a:off x="10212419" y="4310061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 flipH="1">
            <a:off x="316523" y="2634748"/>
            <a:ext cx="1830366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304537" y="2312963"/>
            <a:ext cx="11136" cy="357787"/>
          </a:xfrm>
          <a:prstGeom prst="line">
            <a:avLst/>
          </a:prstGeom>
          <a:ln w="666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H="1">
            <a:off x="1016481" y="2342735"/>
            <a:ext cx="11557" cy="203466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 flipV="1">
            <a:off x="979348" y="4354340"/>
            <a:ext cx="1172090" cy="4563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rved Left Arrow 5"/>
          <p:cNvSpPr/>
          <p:nvPr/>
        </p:nvSpPr>
        <p:spPr>
          <a:xfrm flipV="1">
            <a:off x="955964" y="3022500"/>
            <a:ext cx="282632" cy="453043"/>
          </a:xfrm>
          <a:prstGeom prst="curvedLef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5" name="Title 2"/>
          <p:cNvSpPr txBox="1">
            <a:spLocks/>
          </p:cNvSpPr>
          <p:nvPr/>
        </p:nvSpPr>
        <p:spPr>
          <a:xfrm>
            <a:off x="9439332" y="6317854"/>
            <a:ext cx="1181100" cy="313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900" u="sng" dirty="0" smtClean="0"/>
              <a:t>Updated 08/01/2019</a:t>
            </a:r>
            <a:endParaRPr lang="en-US" sz="900" u="sng" dirty="0"/>
          </a:p>
        </p:txBody>
      </p:sp>
      <p:sp>
        <p:nvSpPr>
          <p:cNvPr id="2" name="TextBox 1"/>
          <p:cNvSpPr txBox="1"/>
          <p:nvPr/>
        </p:nvSpPr>
        <p:spPr>
          <a:xfrm>
            <a:off x="5823575" y="2530586"/>
            <a:ext cx="1148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Right</a:t>
            </a:r>
            <a:endParaRPr lang="en-US" sz="1000" b="1" dirty="0"/>
          </a:p>
        </p:txBody>
      </p:sp>
      <p:sp>
        <p:nvSpPr>
          <p:cNvPr id="163" name="TextBox 162"/>
          <p:cNvSpPr txBox="1"/>
          <p:nvPr/>
        </p:nvSpPr>
        <p:spPr>
          <a:xfrm>
            <a:off x="7203110" y="1862703"/>
            <a:ext cx="9509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Inners - Coupe</a:t>
            </a:r>
            <a:endParaRPr lang="en-US" sz="1000" b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7427862" y="3271609"/>
            <a:ext cx="15583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2</a:t>
            </a:r>
            <a:endParaRPr lang="en-US" sz="1000" b="1" dirty="0"/>
          </a:p>
        </p:txBody>
      </p:sp>
      <p:sp>
        <p:nvSpPr>
          <p:cNvPr id="165" name="TextBox 164"/>
          <p:cNvSpPr txBox="1"/>
          <p:nvPr/>
        </p:nvSpPr>
        <p:spPr>
          <a:xfrm>
            <a:off x="7222943" y="4337609"/>
            <a:ext cx="1554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4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5421613" y="5098391"/>
            <a:ext cx="3524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Closure Line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7750015" y="4754263"/>
            <a:ext cx="1554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5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8943981" y="2572224"/>
            <a:ext cx="10999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Body Side Outers</a:t>
            </a:r>
            <a:endParaRPr lang="en-US" sz="1000" b="1" dirty="0"/>
          </a:p>
        </p:txBody>
      </p:sp>
      <p:sp>
        <p:nvSpPr>
          <p:cNvPr id="171" name="TextBox 170"/>
          <p:cNvSpPr txBox="1"/>
          <p:nvPr/>
        </p:nvSpPr>
        <p:spPr>
          <a:xfrm>
            <a:off x="10068881" y="1619354"/>
            <a:ext cx="9877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A2 Door Lines</a:t>
            </a:r>
            <a:endParaRPr lang="en-US" sz="1000" b="1" dirty="0"/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2548" y="1536495"/>
            <a:ext cx="492443" cy="74696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Coupe Outers</a:t>
            </a:r>
            <a:endParaRPr lang="en-US" sz="1000" b="1" dirty="0"/>
          </a:p>
        </p:txBody>
      </p:sp>
      <p:sp>
        <p:nvSpPr>
          <p:cNvPr id="172" name="TextBox 171"/>
          <p:cNvSpPr txBox="1"/>
          <p:nvPr/>
        </p:nvSpPr>
        <p:spPr>
          <a:xfrm>
            <a:off x="8116316" y="3904133"/>
            <a:ext cx="10764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3</a:t>
            </a:r>
            <a:endParaRPr lang="en-US" sz="1000" b="1" dirty="0"/>
          </a:p>
        </p:txBody>
      </p:sp>
      <p:sp>
        <p:nvSpPr>
          <p:cNvPr id="173" name="TextBox 172"/>
          <p:cNvSpPr txBox="1"/>
          <p:nvPr/>
        </p:nvSpPr>
        <p:spPr>
          <a:xfrm>
            <a:off x="4691717" y="4195994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2</a:t>
            </a:r>
            <a:endParaRPr lang="en-US" sz="1000" b="1" dirty="0"/>
          </a:p>
        </p:txBody>
      </p:sp>
      <p:sp>
        <p:nvSpPr>
          <p:cNvPr id="174" name="TextBox 173"/>
          <p:cNvSpPr txBox="1"/>
          <p:nvPr/>
        </p:nvSpPr>
        <p:spPr>
          <a:xfrm>
            <a:off x="4722886" y="3662918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</a:t>
            </a:r>
            <a:endParaRPr lang="en-US" sz="10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034861" y="3058391"/>
            <a:ext cx="5150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Doors</a:t>
            </a:r>
            <a:endParaRPr lang="en-US" sz="1000" b="1" dirty="0"/>
          </a:p>
        </p:txBody>
      </p:sp>
      <p:sp>
        <p:nvSpPr>
          <p:cNvPr id="177" name="TextBox 176"/>
          <p:cNvSpPr txBox="1"/>
          <p:nvPr/>
        </p:nvSpPr>
        <p:spPr>
          <a:xfrm>
            <a:off x="9596889" y="3048890"/>
            <a:ext cx="5577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Left Doors</a:t>
            </a:r>
            <a:endParaRPr lang="en-US" sz="1000" b="1" dirty="0"/>
          </a:p>
        </p:txBody>
      </p:sp>
      <p:sp>
        <p:nvSpPr>
          <p:cNvPr id="178" name="TextBox 177"/>
          <p:cNvSpPr txBox="1"/>
          <p:nvPr/>
        </p:nvSpPr>
        <p:spPr>
          <a:xfrm>
            <a:off x="2857643" y="3222946"/>
            <a:ext cx="492443" cy="4118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179" name="TextBox 178"/>
          <p:cNvSpPr txBox="1"/>
          <p:nvPr/>
        </p:nvSpPr>
        <p:spPr>
          <a:xfrm rot="16200000">
            <a:off x="2321616" y="4718679"/>
            <a:ext cx="338554" cy="53722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Tunnel</a:t>
            </a:r>
            <a:endParaRPr lang="en-US" sz="1000" b="1" dirty="0"/>
          </a:p>
        </p:txBody>
      </p:sp>
      <p:sp>
        <p:nvSpPr>
          <p:cNvPr id="180" name="TextBox 179"/>
          <p:cNvSpPr txBox="1"/>
          <p:nvPr/>
        </p:nvSpPr>
        <p:spPr>
          <a:xfrm rot="16200000">
            <a:off x="2796696" y="3796187"/>
            <a:ext cx="338554" cy="57513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A-Pillars</a:t>
            </a:r>
            <a:endParaRPr lang="en-US" sz="1050" b="1" dirty="0"/>
          </a:p>
        </p:txBody>
      </p:sp>
      <p:sp>
        <p:nvSpPr>
          <p:cNvPr id="181" name="TextBox 180"/>
          <p:cNvSpPr txBox="1"/>
          <p:nvPr/>
        </p:nvSpPr>
        <p:spPr>
          <a:xfrm>
            <a:off x="3061417" y="4093770"/>
            <a:ext cx="338554" cy="8882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2" name="TextBox 181"/>
          <p:cNvSpPr txBox="1"/>
          <p:nvPr/>
        </p:nvSpPr>
        <p:spPr>
          <a:xfrm>
            <a:off x="2147118" y="3018786"/>
            <a:ext cx="338554" cy="114195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ails </a:t>
            </a:r>
            <a:r>
              <a:rPr lang="en-US" sz="1000" b="1" dirty="0"/>
              <a:t>&amp; </a:t>
            </a:r>
            <a:r>
              <a:rPr lang="en-US" sz="1000" b="1" dirty="0" err="1"/>
              <a:t>Träger</a:t>
            </a:r>
            <a:endParaRPr lang="en-US" sz="1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719685" y="3930940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3" name="TextBox 182"/>
          <p:cNvSpPr txBox="1"/>
          <p:nvPr/>
        </p:nvSpPr>
        <p:spPr>
          <a:xfrm>
            <a:off x="3363820" y="3510945"/>
            <a:ext cx="9797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Rail</a:t>
            </a:r>
            <a:endParaRPr lang="en-US" sz="1000" b="1" dirty="0"/>
          </a:p>
        </p:txBody>
      </p:sp>
      <p:sp>
        <p:nvSpPr>
          <p:cNvPr id="185" name="TextBox 184"/>
          <p:cNvSpPr txBox="1"/>
          <p:nvPr/>
        </p:nvSpPr>
        <p:spPr>
          <a:xfrm>
            <a:off x="4331708" y="2459305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 Rails</a:t>
            </a:r>
            <a:endParaRPr lang="en-US" sz="1000" b="1" dirty="0"/>
          </a:p>
        </p:txBody>
      </p:sp>
      <p:sp>
        <p:nvSpPr>
          <p:cNvPr id="186" name="TextBox 185"/>
          <p:cNvSpPr txBox="1"/>
          <p:nvPr/>
        </p:nvSpPr>
        <p:spPr>
          <a:xfrm>
            <a:off x="4052386" y="4433343"/>
            <a:ext cx="5112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Dash</a:t>
            </a:r>
            <a:endParaRPr lang="en-US" sz="1050" b="1" dirty="0"/>
          </a:p>
        </p:txBody>
      </p:sp>
      <p:sp>
        <p:nvSpPr>
          <p:cNvPr id="188" name="TextBox 187"/>
          <p:cNvSpPr txBox="1"/>
          <p:nvPr/>
        </p:nvSpPr>
        <p:spPr>
          <a:xfrm>
            <a:off x="5335091" y="3100749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1</a:t>
            </a:r>
            <a:endParaRPr lang="en-US" sz="800" b="1" dirty="0"/>
          </a:p>
        </p:txBody>
      </p:sp>
      <p:sp>
        <p:nvSpPr>
          <p:cNvPr id="189" name="TextBox 188"/>
          <p:cNvSpPr txBox="1"/>
          <p:nvPr/>
        </p:nvSpPr>
        <p:spPr>
          <a:xfrm>
            <a:off x="10893535" y="3416406"/>
            <a:ext cx="5150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416 Hood Hatch</a:t>
            </a:r>
            <a:endParaRPr lang="en-US" sz="1000" b="1" dirty="0"/>
          </a:p>
        </p:txBody>
      </p:sp>
      <p:sp>
        <p:nvSpPr>
          <p:cNvPr id="190" name="TextBox 189"/>
          <p:cNvSpPr txBox="1"/>
          <p:nvPr/>
        </p:nvSpPr>
        <p:spPr>
          <a:xfrm>
            <a:off x="10143030" y="3813021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PSD</a:t>
            </a:r>
            <a:endParaRPr lang="en-US" sz="1000" b="1" dirty="0"/>
          </a:p>
        </p:txBody>
      </p:sp>
      <p:sp>
        <p:nvSpPr>
          <p:cNvPr id="191" name="TextBox 190"/>
          <p:cNvSpPr txBox="1"/>
          <p:nvPr/>
        </p:nvSpPr>
        <p:spPr>
          <a:xfrm rot="5400000">
            <a:off x="9626272" y="5616622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ood</a:t>
            </a:r>
            <a:endParaRPr lang="en-US" sz="1000" b="1" dirty="0"/>
          </a:p>
        </p:txBody>
      </p:sp>
      <p:sp>
        <p:nvSpPr>
          <p:cNvPr id="192" name="TextBox 191"/>
          <p:cNvSpPr txBox="1"/>
          <p:nvPr/>
        </p:nvSpPr>
        <p:spPr>
          <a:xfrm>
            <a:off x="9592383" y="5133336"/>
            <a:ext cx="6319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enders</a:t>
            </a:r>
            <a:endParaRPr lang="en-US" sz="1000" b="1" dirty="0"/>
          </a:p>
        </p:txBody>
      </p:sp>
      <p:sp>
        <p:nvSpPr>
          <p:cNvPr id="193" name="TextBox 192"/>
          <p:cNvSpPr txBox="1"/>
          <p:nvPr/>
        </p:nvSpPr>
        <p:spPr>
          <a:xfrm rot="5400000">
            <a:off x="9121032" y="5321455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atch</a:t>
            </a:r>
            <a:endParaRPr lang="en-US" sz="1000" b="1" dirty="0"/>
          </a:p>
        </p:txBody>
      </p:sp>
      <p:sp>
        <p:nvSpPr>
          <p:cNvPr id="194" name="TextBox 193"/>
          <p:cNvSpPr txBox="1"/>
          <p:nvPr/>
        </p:nvSpPr>
        <p:spPr>
          <a:xfrm>
            <a:off x="6890433" y="2525469"/>
            <a:ext cx="960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Left</a:t>
            </a:r>
            <a:endParaRPr lang="en-US" sz="1000" b="1" dirty="0"/>
          </a:p>
        </p:txBody>
      </p:sp>
      <p:sp>
        <p:nvSpPr>
          <p:cNvPr id="17" name="Rectangle 16"/>
          <p:cNvSpPr/>
          <p:nvPr/>
        </p:nvSpPr>
        <p:spPr>
          <a:xfrm>
            <a:off x="1602581" y="4984338"/>
            <a:ext cx="333375" cy="911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515809" y="4877373"/>
            <a:ext cx="502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NMS</a:t>
            </a:r>
            <a:endParaRPr lang="en-US" sz="1000" b="1" dirty="0"/>
          </a:p>
        </p:txBody>
      </p:sp>
      <p:sp>
        <p:nvSpPr>
          <p:cNvPr id="20" name="Rectangle 19"/>
          <p:cNvSpPr/>
          <p:nvPr/>
        </p:nvSpPr>
        <p:spPr>
          <a:xfrm>
            <a:off x="1553137" y="4852986"/>
            <a:ext cx="420919" cy="35004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4051775" y="2381009"/>
            <a:ext cx="426325" cy="406477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TextBox 196"/>
          <p:cNvSpPr txBox="1"/>
          <p:nvPr/>
        </p:nvSpPr>
        <p:spPr>
          <a:xfrm>
            <a:off x="11334335" y="2409368"/>
            <a:ext cx="5780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oupe  Hatch</a:t>
            </a:r>
            <a:endParaRPr lang="en-US" sz="1000" b="1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007574" y="5203032"/>
            <a:ext cx="1" cy="27799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5567371" y="3263224"/>
            <a:ext cx="0" cy="155478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5961161" y="3200400"/>
            <a:ext cx="23079" cy="1626586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6339397" y="3171335"/>
            <a:ext cx="2300" cy="1718887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TextBox 221"/>
          <p:cNvSpPr txBox="1"/>
          <p:nvPr/>
        </p:nvSpPr>
        <p:spPr>
          <a:xfrm>
            <a:off x="397257" y="6409949"/>
            <a:ext cx="146386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rown (NS) Steel 1mm = .4 </a:t>
            </a:r>
            <a:endParaRPr lang="en-US" sz="900" dirty="0"/>
          </a:p>
        </p:txBody>
      </p:sp>
      <p:sp>
        <p:nvSpPr>
          <p:cNvPr id="253" name="TextBox 252"/>
          <p:cNvSpPr txBox="1"/>
          <p:nvPr/>
        </p:nvSpPr>
        <p:spPr>
          <a:xfrm>
            <a:off x="3800338" y="3192851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262" name="Rounded Rectangle 261"/>
          <p:cNvSpPr/>
          <p:nvPr/>
        </p:nvSpPr>
        <p:spPr>
          <a:xfrm>
            <a:off x="5604906" y="4628251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3" name="Rounded Rectangle 262"/>
          <p:cNvSpPr/>
          <p:nvPr/>
        </p:nvSpPr>
        <p:spPr>
          <a:xfrm>
            <a:off x="5853578" y="3882646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4" name="Rounded Rectangle 263"/>
          <p:cNvSpPr/>
          <p:nvPr/>
        </p:nvSpPr>
        <p:spPr>
          <a:xfrm>
            <a:off x="5996389" y="4646506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5" name="Rounded Rectangle 264"/>
          <p:cNvSpPr/>
          <p:nvPr/>
        </p:nvSpPr>
        <p:spPr>
          <a:xfrm>
            <a:off x="6006008" y="4428657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6" name="Rounded Rectangle 265"/>
          <p:cNvSpPr/>
          <p:nvPr/>
        </p:nvSpPr>
        <p:spPr>
          <a:xfrm>
            <a:off x="6204030" y="4628566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7" name="Rounded Rectangle 266"/>
          <p:cNvSpPr/>
          <p:nvPr/>
        </p:nvSpPr>
        <p:spPr>
          <a:xfrm>
            <a:off x="6360805" y="3352818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8" name="Rounded Rectangle 267"/>
          <p:cNvSpPr/>
          <p:nvPr/>
        </p:nvSpPr>
        <p:spPr>
          <a:xfrm>
            <a:off x="6195710" y="4419077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69" name="Rounded Rectangle 268"/>
          <p:cNvSpPr/>
          <p:nvPr/>
        </p:nvSpPr>
        <p:spPr>
          <a:xfrm>
            <a:off x="6368135" y="4647507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0" name="Rounded Rectangle 269"/>
          <p:cNvSpPr/>
          <p:nvPr/>
        </p:nvSpPr>
        <p:spPr>
          <a:xfrm>
            <a:off x="6537419" y="4637051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1" name="Rounded Rectangle 270"/>
          <p:cNvSpPr/>
          <p:nvPr/>
        </p:nvSpPr>
        <p:spPr>
          <a:xfrm>
            <a:off x="6518986" y="4442215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2" name="Rounded Rectangle 271"/>
          <p:cNvSpPr/>
          <p:nvPr/>
        </p:nvSpPr>
        <p:spPr>
          <a:xfrm>
            <a:off x="6504867" y="4232726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4" name="Rounded Rectangle 273"/>
          <p:cNvSpPr/>
          <p:nvPr/>
        </p:nvSpPr>
        <p:spPr>
          <a:xfrm>
            <a:off x="6518986" y="3839913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5" name="Rounded Rectangle 274"/>
          <p:cNvSpPr/>
          <p:nvPr/>
        </p:nvSpPr>
        <p:spPr>
          <a:xfrm>
            <a:off x="6354075" y="428495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76" name="Rounded Rectangle 275"/>
          <p:cNvSpPr/>
          <p:nvPr/>
        </p:nvSpPr>
        <p:spPr>
          <a:xfrm>
            <a:off x="6353319" y="4128712"/>
            <a:ext cx="121410" cy="118596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77" name="Rounded Rectangle 276"/>
          <p:cNvSpPr/>
          <p:nvPr/>
        </p:nvSpPr>
        <p:spPr>
          <a:xfrm>
            <a:off x="1974994" y="6455619"/>
            <a:ext cx="171895" cy="147084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2178127" y="6421996"/>
            <a:ext cx="19223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rown steel 0.9mm = .03 (w/ handle)</a:t>
            </a:r>
            <a:endParaRPr lang="en-US" sz="900" dirty="0"/>
          </a:p>
        </p:txBody>
      </p:sp>
      <p:sp>
        <p:nvSpPr>
          <p:cNvPr id="279" name="Rounded Rectangle 278"/>
          <p:cNvSpPr/>
          <p:nvPr/>
        </p:nvSpPr>
        <p:spPr>
          <a:xfrm>
            <a:off x="232756" y="627046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TextBox 280"/>
          <p:cNvSpPr txBox="1"/>
          <p:nvPr/>
        </p:nvSpPr>
        <p:spPr>
          <a:xfrm>
            <a:off x="401343" y="6239466"/>
            <a:ext cx="13260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Bronze 1mm = .039</a:t>
            </a:r>
            <a:endParaRPr lang="en-US" sz="900" dirty="0"/>
          </a:p>
        </p:txBody>
      </p:sp>
      <p:sp>
        <p:nvSpPr>
          <p:cNvPr id="282" name="Rounded Rectangle 281"/>
          <p:cNvSpPr/>
          <p:nvPr/>
        </p:nvSpPr>
        <p:spPr>
          <a:xfrm>
            <a:off x="1984550" y="6267551"/>
            <a:ext cx="162340" cy="14239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2186425" y="6224787"/>
            <a:ext cx="13869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Bronze 1.6mm =.063</a:t>
            </a:r>
            <a:endParaRPr lang="en-US" sz="900" dirty="0"/>
          </a:p>
        </p:txBody>
      </p:sp>
      <p:sp>
        <p:nvSpPr>
          <p:cNvPr id="284" name="Rounded Rectangle 283"/>
          <p:cNvSpPr/>
          <p:nvPr/>
        </p:nvSpPr>
        <p:spPr>
          <a:xfrm>
            <a:off x="4345290" y="6240073"/>
            <a:ext cx="141421" cy="181923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E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85" name="TextBox 284"/>
          <p:cNvSpPr txBox="1"/>
          <p:nvPr/>
        </p:nvSpPr>
        <p:spPr>
          <a:xfrm>
            <a:off x="4483858" y="6239466"/>
            <a:ext cx="14782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Copper 0.8mm = .031  </a:t>
            </a:r>
            <a:endParaRPr lang="en-US" sz="900" dirty="0"/>
          </a:p>
        </p:txBody>
      </p:sp>
      <p:sp>
        <p:nvSpPr>
          <p:cNvPr id="286" name="Rounded Rectangle 285"/>
          <p:cNvSpPr/>
          <p:nvPr/>
        </p:nvSpPr>
        <p:spPr>
          <a:xfrm>
            <a:off x="6805271" y="4277240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87" name="Rounded Rectangle 286"/>
          <p:cNvSpPr/>
          <p:nvPr/>
        </p:nvSpPr>
        <p:spPr>
          <a:xfrm>
            <a:off x="11004304" y="96016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88" name="Rounded Rectangle 287"/>
          <p:cNvSpPr/>
          <p:nvPr/>
        </p:nvSpPr>
        <p:spPr>
          <a:xfrm>
            <a:off x="9822340" y="1573500"/>
            <a:ext cx="141421" cy="181923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E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89" name="Rounded Rectangle 288"/>
          <p:cNvSpPr/>
          <p:nvPr/>
        </p:nvSpPr>
        <p:spPr>
          <a:xfrm>
            <a:off x="8719531" y="284146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0" name="Rounded Rectangle 289"/>
          <p:cNvSpPr/>
          <p:nvPr/>
        </p:nvSpPr>
        <p:spPr>
          <a:xfrm>
            <a:off x="10186381" y="285099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ounded Rectangle 290"/>
          <p:cNvSpPr/>
          <p:nvPr/>
        </p:nvSpPr>
        <p:spPr>
          <a:xfrm>
            <a:off x="11195225" y="2724251"/>
            <a:ext cx="162340" cy="14239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92" name="Rounded Rectangle 291"/>
          <p:cNvSpPr/>
          <p:nvPr/>
        </p:nvSpPr>
        <p:spPr>
          <a:xfrm>
            <a:off x="11128129" y="217936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93" name="Rounded Rectangle 292"/>
          <p:cNvSpPr/>
          <p:nvPr/>
        </p:nvSpPr>
        <p:spPr>
          <a:xfrm>
            <a:off x="11490500" y="3743426"/>
            <a:ext cx="162340" cy="14239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94" name="Rounded Rectangle 293"/>
          <p:cNvSpPr/>
          <p:nvPr/>
        </p:nvSpPr>
        <p:spPr>
          <a:xfrm>
            <a:off x="10443556" y="370824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295" name="Picture 29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35826" y="3131473"/>
            <a:ext cx="225572" cy="883997"/>
          </a:xfrm>
          <a:prstGeom prst="rect">
            <a:avLst/>
          </a:prstGeom>
        </p:spPr>
      </p:pic>
      <p:pic>
        <p:nvPicPr>
          <p:cNvPr id="296" name="Picture 29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40476" y="3112423"/>
            <a:ext cx="225572" cy="883997"/>
          </a:xfrm>
          <a:prstGeom prst="rect">
            <a:avLst/>
          </a:prstGeom>
        </p:spPr>
      </p:pic>
      <p:sp>
        <p:nvSpPr>
          <p:cNvPr id="299" name="Rounded Rectangle 298"/>
          <p:cNvSpPr/>
          <p:nvPr/>
        </p:nvSpPr>
        <p:spPr>
          <a:xfrm>
            <a:off x="223056" y="6466791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00" name="Rounded Rectangle 299"/>
          <p:cNvSpPr/>
          <p:nvPr/>
        </p:nvSpPr>
        <p:spPr>
          <a:xfrm>
            <a:off x="8681256" y="313304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01" name="Rounded Rectangle 300"/>
          <p:cNvSpPr/>
          <p:nvPr/>
        </p:nvSpPr>
        <p:spPr>
          <a:xfrm>
            <a:off x="8671731" y="3561667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02" name="Rounded Rectangle 301"/>
          <p:cNvSpPr/>
          <p:nvPr/>
        </p:nvSpPr>
        <p:spPr>
          <a:xfrm>
            <a:off x="7671606" y="3828367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03" name="Rounded Rectangle 302"/>
          <p:cNvSpPr/>
          <p:nvPr/>
        </p:nvSpPr>
        <p:spPr>
          <a:xfrm>
            <a:off x="7671606" y="404744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04" name="Rounded Rectangle 303"/>
          <p:cNvSpPr/>
          <p:nvPr/>
        </p:nvSpPr>
        <p:spPr>
          <a:xfrm>
            <a:off x="8252806" y="408924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5" name="Rounded Rectangle 304"/>
          <p:cNvSpPr/>
          <p:nvPr/>
        </p:nvSpPr>
        <p:spPr>
          <a:xfrm>
            <a:off x="7967056" y="409876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ounded Rectangle 305"/>
          <p:cNvSpPr/>
          <p:nvPr/>
        </p:nvSpPr>
        <p:spPr>
          <a:xfrm>
            <a:off x="8252806" y="384159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7" name="Rounded Rectangle 306"/>
          <p:cNvSpPr/>
          <p:nvPr/>
        </p:nvSpPr>
        <p:spPr>
          <a:xfrm>
            <a:off x="7967056" y="384159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ounded Rectangle 307"/>
          <p:cNvSpPr/>
          <p:nvPr/>
        </p:nvSpPr>
        <p:spPr>
          <a:xfrm>
            <a:off x="7052481" y="4284951"/>
            <a:ext cx="114083" cy="1650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0" name="Rounded Rectangle 309"/>
          <p:cNvSpPr/>
          <p:nvPr/>
        </p:nvSpPr>
        <p:spPr>
          <a:xfrm>
            <a:off x="7252681" y="4973043"/>
            <a:ext cx="145452" cy="10340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ounded Rectangle 311"/>
          <p:cNvSpPr/>
          <p:nvPr/>
        </p:nvSpPr>
        <p:spPr>
          <a:xfrm>
            <a:off x="7814206" y="4730169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ounded Rectangle 312"/>
          <p:cNvSpPr/>
          <p:nvPr/>
        </p:nvSpPr>
        <p:spPr>
          <a:xfrm>
            <a:off x="8015556" y="4730758"/>
            <a:ext cx="131669" cy="8525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4" name="Rounded Rectangle 313"/>
          <p:cNvSpPr/>
          <p:nvPr/>
        </p:nvSpPr>
        <p:spPr>
          <a:xfrm>
            <a:off x="7610791" y="4965734"/>
            <a:ext cx="133355" cy="1129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5" name="Rounded Rectangle 314"/>
          <p:cNvSpPr/>
          <p:nvPr/>
        </p:nvSpPr>
        <p:spPr>
          <a:xfrm>
            <a:off x="8434698" y="4941003"/>
            <a:ext cx="107527" cy="13305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6" name="Rounded Rectangle 315"/>
          <p:cNvSpPr/>
          <p:nvPr/>
        </p:nvSpPr>
        <p:spPr>
          <a:xfrm>
            <a:off x="8024032" y="4958862"/>
            <a:ext cx="108853" cy="1308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7" name="Rounded Rectangle 316"/>
          <p:cNvSpPr/>
          <p:nvPr/>
        </p:nvSpPr>
        <p:spPr>
          <a:xfrm>
            <a:off x="8434698" y="4750392"/>
            <a:ext cx="122642" cy="9562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18" name="Rounded Rectangle 317"/>
          <p:cNvSpPr/>
          <p:nvPr/>
        </p:nvSpPr>
        <p:spPr>
          <a:xfrm>
            <a:off x="8309150" y="4314926"/>
            <a:ext cx="162340" cy="14239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19" name="Rounded Rectangle 318"/>
          <p:cNvSpPr/>
          <p:nvPr/>
        </p:nvSpPr>
        <p:spPr>
          <a:xfrm>
            <a:off x="8299625" y="4553051"/>
            <a:ext cx="162340" cy="14239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20" name="Rounded Rectangle 319"/>
          <p:cNvSpPr/>
          <p:nvPr/>
        </p:nvSpPr>
        <p:spPr>
          <a:xfrm>
            <a:off x="6119206" y="563229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ounded Rectangle 320"/>
          <p:cNvSpPr/>
          <p:nvPr/>
        </p:nvSpPr>
        <p:spPr>
          <a:xfrm>
            <a:off x="6489844" y="5626944"/>
            <a:ext cx="171895" cy="147084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22" name="Rounded Rectangle 321"/>
          <p:cNvSpPr/>
          <p:nvPr/>
        </p:nvSpPr>
        <p:spPr>
          <a:xfrm>
            <a:off x="6747856" y="564181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ounded Rectangle 322"/>
          <p:cNvSpPr/>
          <p:nvPr/>
        </p:nvSpPr>
        <p:spPr>
          <a:xfrm>
            <a:off x="7233631" y="5651342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ounded Rectangle 323"/>
          <p:cNvSpPr/>
          <p:nvPr/>
        </p:nvSpPr>
        <p:spPr>
          <a:xfrm>
            <a:off x="6994669" y="5636469"/>
            <a:ext cx="171895" cy="147084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D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25" name="Rounded Rectangle 324"/>
          <p:cNvSpPr/>
          <p:nvPr/>
        </p:nvSpPr>
        <p:spPr>
          <a:xfrm>
            <a:off x="7460140" y="5631150"/>
            <a:ext cx="141421" cy="181923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E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26" name="Rounded Rectangle 325"/>
          <p:cNvSpPr/>
          <p:nvPr/>
        </p:nvSpPr>
        <p:spPr>
          <a:xfrm>
            <a:off x="6733349" y="5981915"/>
            <a:ext cx="171327" cy="13870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27" name="Rounded Rectangle 326"/>
          <p:cNvSpPr/>
          <p:nvPr/>
        </p:nvSpPr>
        <p:spPr>
          <a:xfrm>
            <a:off x="6309532" y="5974050"/>
            <a:ext cx="141926" cy="1428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328" name="Rounded Rectangle 327"/>
          <p:cNvSpPr/>
          <p:nvPr/>
        </p:nvSpPr>
        <p:spPr>
          <a:xfrm>
            <a:off x="6985981" y="596566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9" name="Rounded Rectangle 328"/>
          <p:cNvSpPr/>
          <p:nvPr/>
        </p:nvSpPr>
        <p:spPr>
          <a:xfrm>
            <a:off x="6481156" y="5965667"/>
            <a:ext cx="164502" cy="13948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0" name="Rounded Rectangle 329"/>
          <p:cNvSpPr/>
          <p:nvPr/>
        </p:nvSpPr>
        <p:spPr>
          <a:xfrm>
            <a:off x="7450615" y="5974050"/>
            <a:ext cx="141421" cy="181923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E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32" name="TextBox 331"/>
          <p:cNvSpPr txBox="1"/>
          <p:nvPr/>
        </p:nvSpPr>
        <p:spPr>
          <a:xfrm>
            <a:off x="6613258" y="5747640"/>
            <a:ext cx="3754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 smtClean="0"/>
              <a:t>VBT</a:t>
            </a:r>
            <a:endParaRPr lang="en-US" sz="900" b="1" dirty="0"/>
          </a:p>
        </p:txBody>
      </p:sp>
      <p:sp>
        <p:nvSpPr>
          <p:cNvPr id="334" name="Rectangle 333"/>
          <p:cNvSpPr/>
          <p:nvPr/>
        </p:nvSpPr>
        <p:spPr>
          <a:xfrm>
            <a:off x="5469583" y="4898823"/>
            <a:ext cx="649624" cy="12244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600" dirty="0" smtClean="0">
                <a:solidFill>
                  <a:schemeClr val="tx1"/>
                </a:solidFill>
              </a:rPr>
              <a:t>Maintenance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46" name="Rounded Rectangle 145"/>
          <p:cNvSpPr/>
          <p:nvPr/>
        </p:nvSpPr>
        <p:spPr>
          <a:xfrm>
            <a:off x="7542359" y="4557851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ounded Rectangle 146"/>
          <p:cNvSpPr/>
          <p:nvPr/>
        </p:nvSpPr>
        <p:spPr>
          <a:xfrm>
            <a:off x="7562073" y="4294561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ounded Rectangle 147"/>
          <p:cNvSpPr/>
          <p:nvPr/>
        </p:nvSpPr>
        <p:spPr>
          <a:xfrm>
            <a:off x="7824542" y="4960980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7401603" y="4735503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ounded Rectangle 149"/>
          <p:cNvSpPr/>
          <p:nvPr/>
        </p:nvSpPr>
        <p:spPr>
          <a:xfrm>
            <a:off x="7252681" y="4743048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ounded Rectangle 150"/>
          <p:cNvSpPr/>
          <p:nvPr/>
        </p:nvSpPr>
        <p:spPr>
          <a:xfrm>
            <a:off x="7421149" y="4973043"/>
            <a:ext cx="136332" cy="10989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ounded Rectangle 151"/>
          <p:cNvSpPr/>
          <p:nvPr/>
        </p:nvSpPr>
        <p:spPr>
          <a:xfrm>
            <a:off x="7086095" y="4965734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7087562" y="4749942"/>
            <a:ext cx="132277" cy="1111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ounded Rectangle 154"/>
          <p:cNvSpPr/>
          <p:nvPr/>
        </p:nvSpPr>
        <p:spPr>
          <a:xfrm>
            <a:off x="7605753" y="4767368"/>
            <a:ext cx="133355" cy="1129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156" name="Rounded Rectangle 155"/>
          <p:cNvSpPr/>
          <p:nvPr/>
        </p:nvSpPr>
        <p:spPr>
          <a:xfrm>
            <a:off x="5611475" y="3498382"/>
            <a:ext cx="104695" cy="163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5679003" y="3102258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2</a:t>
            </a:r>
            <a:endParaRPr lang="en-US" sz="800" b="1" dirty="0"/>
          </a:p>
        </p:txBody>
      </p:sp>
      <p:sp>
        <p:nvSpPr>
          <p:cNvPr id="184" name="TextBox 183"/>
          <p:cNvSpPr txBox="1"/>
          <p:nvPr/>
        </p:nvSpPr>
        <p:spPr>
          <a:xfrm>
            <a:off x="6005182" y="3104448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3</a:t>
            </a:r>
            <a:endParaRPr lang="en-US" sz="800" b="1" dirty="0"/>
          </a:p>
        </p:txBody>
      </p:sp>
      <p:sp>
        <p:nvSpPr>
          <p:cNvPr id="187" name="TextBox 186"/>
          <p:cNvSpPr txBox="1"/>
          <p:nvPr/>
        </p:nvSpPr>
        <p:spPr>
          <a:xfrm>
            <a:off x="6384199" y="3112423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4</a:t>
            </a:r>
            <a:endParaRPr lang="en-US" sz="8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802301" y="3112423"/>
            <a:ext cx="338554" cy="566822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sz="1000" b="1" dirty="0" smtClean="0"/>
              <a:t>Framer </a:t>
            </a:r>
            <a:r>
              <a:rPr lang="en-US" sz="1000" dirty="0" smtClean="0"/>
              <a:t>1</a:t>
            </a:r>
            <a:endParaRPr lang="en-US" sz="1000" dirty="0"/>
          </a:p>
        </p:txBody>
      </p:sp>
      <p:sp>
        <p:nvSpPr>
          <p:cNvPr id="205" name="Rounded Rectangle 204"/>
          <p:cNvSpPr/>
          <p:nvPr/>
        </p:nvSpPr>
        <p:spPr>
          <a:xfrm>
            <a:off x="1659136" y="5080545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06" name="Rounded Rectangle 205"/>
          <p:cNvSpPr/>
          <p:nvPr/>
        </p:nvSpPr>
        <p:spPr>
          <a:xfrm>
            <a:off x="1665668" y="4746620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08" name="Rounded Rectangle 207"/>
          <p:cNvSpPr/>
          <p:nvPr/>
        </p:nvSpPr>
        <p:spPr>
          <a:xfrm>
            <a:off x="2336847" y="2381146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2" name="Rounded Rectangle 211"/>
          <p:cNvSpPr/>
          <p:nvPr/>
        </p:nvSpPr>
        <p:spPr>
          <a:xfrm>
            <a:off x="2849019" y="2381146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3" name="Rounded Rectangle 212"/>
          <p:cNvSpPr/>
          <p:nvPr/>
        </p:nvSpPr>
        <p:spPr>
          <a:xfrm>
            <a:off x="2396744" y="3156805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4" name="Rounded Rectangle 213"/>
          <p:cNvSpPr/>
          <p:nvPr/>
        </p:nvSpPr>
        <p:spPr>
          <a:xfrm>
            <a:off x="2370920" y="3892939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5" name="Rounded Rectangle 214"/>
          <p:cNvSpPr/>
          <p:nvPr/>
        </p:nvSpPr>
        <p:spPr>
          <a:xfrm>
            <a:off x="2345638" y="4475000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6" name="Rounded Rectangle 215"/>
          <p:cNvSpPr/>
          <p:nvPr/>
        </p:nvSpPr>
        <p:spPr>
          <a:xfrm>
            <a:off x="4137852" y="3075617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941150" y="3244334"/>
            <a:ext cx="309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18" name="Rounded Rectangle 217"/>
          <p:cNvSpPr/>
          <p:nvPr/>
        </p:nvSpPr>
        <p:spPr>
          <a:xfrm>
            <a:off x="4402775" y="3092054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19" name="Rounded Rectangle 218"/>
          <p:cNvSpPr/>
          <p:nvPr/>
        </p:nvSpPr>
        <p:spPr>
          <a:xfrm>
            <a:off x="4374454" y="3550380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20" name="Rounded Rectangle 219"/>
          <p:cNvSpPr/>
          <p:nvPr/>
        </p:nvSpPr>
        <p:spPr>
          <a:xfrm>
            <a:off x="4782855" y="5265914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  <p:sp>
        <p:nvSpPr>
          <p:cNvPr id="221" name="Rounded Rectangle 220"/>
          <p:cNvSpPr/>
          <p:nvPr/>
        </p:nvSpPr>
        <p:spPr>
          <a:xfrm>
            <a:off x="5076797" y="5078128"/>
            <a:ext cx="148825" cy="173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35165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1" name="Straight Connector 160"/>
          <p:cNvCxnSpPr/>
          <p:nvPr/>
        </p:nvCxnSpPr>
        <p:spPr>
          <a:xfrm>
            <a:off x="1553137" y="2382501"/>
            <a:ext cx="27087" cy="2825291"/>
          </a:xfrm>
          <a:prstGeom prst="line">
            <a:avLst/>
          </a:prstGeom>
          <a:ln w="139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605031"/>
          </a:xfrm>
        </p:spPr>
        <p:txBody>
          <a:bodyPr>
            <a:noAutofit/>
          </a:bodyPr>
          <a:lstStyle/>
          <a:p>
            <a:pPr algn="ctr"/>
            <a:r>
              <a:rPr lang="en-US" sz="4800" b="1" u="sng" dirty="0" smtClean="0">
                <a:latin typeface="Calibri" panose="020F0502020204030204" pitchFamily="34" charset="0"/>
              </a:rPr>
              <a:t>Weld Wire Locations</a:t>
            </a:r>
            <a:endParaRPr lang="en-US" sz="4800" b="1" u="sng" dirty="0"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2756" y="3000894"/>
            <a:ext cx="640080" cy="1579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32756" y="3118728"/>
            <a:ext cx="6400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Sealant Pickup Rollers</a:t>
            </a:r>
            <a:endParaRPr lang="en-US" sz="1000" b="1" dirty="0"/>
          </a:p>
        </p:txBody>
      </p:sp>
      <p:sp>
        <p:nvSpPr>
          <p:cNvPr id="7" name="Rectangle 6"/>
          <p:cNvSpPr/>
          <p:nvPr/>
        </p:nvSpPr>
        <p:spPr>
          <a:xfrm rot="5400000">
            <a:off x="3689038" y="2771818"/>
            <a:ext cx="245272" cy="165261"/>
          </a:xfrm>
          <a:prstGeom prst="rect">
            <a:avLst/>
          </a:prstGeom>
          <a:solidFill>
            <a:srgbClr val="FF99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3762188" y="2774317"/>
            <a:ext cx="98584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FF9900"/>
                </a:solidFill>
              </a:rPr>
              <a:t>Wire Pickup</a:t>
            </a:r>
            <a:endParaRPr lang="en-US" sz="1050" b="1" dirty="0">
              <a:solidFill>
                <a:srgbClr val="FF99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4162412" y="2381009"/>
            <a:ext cx="206279" cy="411650"/>
          </a:xfrm>
          <a:prstGeom prst="rect">
            <a:avLst/>
          </a:prstGeom>
          <a:noFill/>
          <a:ln w="19050">
            <a:noFill/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sz="1000" b="1" dirty="0" smtClean="0"/>
              <a:t>Team Room</a:t>
            </a:r>
            <a:endParaRPr lang="en-US" sz="1000" b="1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3811675" y="5082941"/>
            <a:ext cx="846577" cy="0"/>
          </a:xfrm>
          <a:prstGeom prst="line">
            <a:avLst/>
          </a:prstGeom>
          <a:ln w="155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>
            <a:off x="3443799" y="4792203"/>
            <a:ext cx="407765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830527" y="4774837"/>
            <a:ext cx="8248" cy="298242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10210078" y="3469045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H="1">
            <a:off x="10212419" y="4310061"/>
            <a:ext cx="46264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 flipH="1">
            <a:off x="316523" y="2634748"/>
            <a:ext cx="1830366" cy="0"/>
          </a:xfrm>
          <a:prstGeom prst="line">
            <a:avLst/>
          </a:prstGeom>
          <a:ln w="730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304537" y="2312963"/>
            <a:ext cx="11136" cy="357787"/>
          </a:xfrm>
          <a:prstGeom prst="line">
            <a:avLst/>
          </a:prstGeom>
          <a:ln w="666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H="1">
            <a:off x="1016481" y="2342735"/>
            <a:ext cx="11557" cy="203466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 flipV="1">
            <a:off x="979348" y="4354340"/>
            <a:ext cx="1172090" cy="4563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itle 2"/>
          <p:cNvSpPr txBox="1">
            <a:spLocks/>
          </p:cNvSpPr>
          <p:nvPr/>
        </p:nvSpPr>
        <p:spPr>
          <a:xfrm>
            <a:off x="9439332" y="6317854"/>
            <a:ext cx="1181100" cy="313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900" u="sng" dirty="0" smtClean="0"/>
              <a:t>Updated 08/15/2019</a:t>
            </a:r>
            <a:endParaRPr lang="en-US" sz="900" u="sng" dirty="0"/>
          </a:p>
        </p:txBody>
      </p:sp>
      <p:sp>
        <p:nvSpPr>
          <p:cNvPr id="2" name="TextBox 1"/>
          <p:cNvSpPr txBox="1"/>
          <p:nvPr/>
        </p:nvSpPr>
        <p:spPr>
          <a:xfrm>
            <a:off x="5823575" y="2530586"/>
            <a:ext cx="1148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Right</a:t>
            </a:r>
            <a:endParaRPr lang="en-US" sz="1000" b="1" dirty="0"/>
          </a:p>
        </p:txBody>
      </p:sp>
      <p:sp>
        <p:nvSpPr>
          <p:cNvPr id="163" name="TextBox 162"/>
          <p:cNvSpPr txBox="1"/>
          <p:nvPr/>
        </p:nvSpPr>
        <p:spPr>
          <a:xfrm>
            <a:off x="7203110" y="1862703"/>
            <a:ext cx="9509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Inners - Coupe</a:t>
            </a:r>
            <a:endParaRPr lang="en-US" sz="1000" b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7427862" y="3271609"/>
            <a:ext cx="15583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2</a:t>
            </a:r>
            <a:endParaRPr lang="en-US" sz="1000" b="1" dirty="0"/>
          </a:p>
        </p:txBody>
      </p:sp>
      <p:sp>
        <p:nvSpPr>
          <p:cNvPr id="165" name="TextBox 164"/>
          <p:cNvSpPr txBox="1"/>
          <p:nvPr/>
        </p:nvSpPr>
        <p:spPr>
          <a:xfrm>
            <a:off x="7222943" y="4337609"/>
            <a:ext cx="1554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4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5367237" y="5148780"/>
            <a:ext cx="35245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Closure Line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7750015" y="4789431"/>
            <a:ext cx="18468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5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8943981" y="2572224"/>
            <a:ext cx="10999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Body Side Outers</a:t>
            </a:r>
            <a:endParaRPr lang="en-US" sz="1000" b="1" dirty="0"/>
          </a:p>
        </p:txBody>
      </p:sp>
      <p:sp>
        <p:nvSpPr>
          <p:cNvPr id="171" name="TextBox 170"/>
          <p:cNvSpPr txBox="1"/>
          <p:nvPr/>
        </p:nvSpPr>
        <p:spPr>
          <a:xfrm>
            <a:off x="10068881" y="1619354"/>
            <a:ext cx="9877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A2 Door Lines</a:t>
            </a:r>
            <a:endParaRPr lang="en-US" sz="1000" b="1" dirty="0"/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2548" y="1536495"/>
            <a:ext cx="492443" cy="74696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Coupe Outers</a:t>
            </a:r>
            <a:endParaRPr lang="en-US" sz="1000" b="1" dirty="0"/>
          </a:p>
        </p:txBody>
      </p:sp>
      <p:sp>
        <p:nvSpPr>
          <p:cNvPr id="172" name="TextBox 171"/>
          <p:cNvSpPr txBox="1"/>
          <p:nvPr/>
        </p:nvSpPr>
        <p:spPr>
          <a:xfrm>
            <a:off x="8116316" y="3904133"/>
            <a:ext cx="10764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amer 3</a:t>
            </a:r>
            <a:endParaRPr lang="en-US" sz="1000" b="1" dirty="0"/>
          </a:p>
        </p:txBody>
      </p:sp>
      <p:sp>
        <p:nvSpPr>
          <p:cNvPr id="173" name="TextBox 172"/>
          <p:cNvSpPr txBox="1"/>
          <p:nvPr/>
        </p:nvSpPr>
        <p:spPr>
          <a:xfrm>
            <a:off x="4691717" y="4195994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2</a:t>
            </a:r>
            <a:endParaRPr lang="en-US" sz="1000" b="1" dirty="0"/>
          </a:p>
        </p:txBody>
      </p:sp>
      <p:sp>
        <p:nvSpPr>
          <p:cNvPr id="174" name="TextBox 173"/>
          <p:cNvSpPr txBox="1"/>
          <p:nvPr/>
        </p:nvSpPr>
        <p:spPr>
          <a:xfrm>
            <a:off x="4722886" y="3662918"/>
            <a:ext cx="5946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</a:t>
            </a:r>
            <a:endParaRPr lang="en-US" sz="10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034861" y="3058391"/>
            <a:ext cx="5150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Doors</a:t>
            </a:r>
            <a:endParaRPr lang="en-US" sz="1000" b="1" dirty="0"/>
          </a:p>
        </p:txBody>
      </p:sp>
      <p:sp>
        <p:nvSpPr>
          <p:cNvPr id="177" name="TextBox 176"/>
          <p:cNvSpPr txBox="1"/>
          <p:nvPr/>
        </p:nvSpPr>
        <p:spPr>
          <a:xfrm>
            <a:off x="9596889" y="3048890"/>
            <a:ext cx="5577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Left Doors</a:t>
            </a:r>
            <a:endParaRPr lang="en-US" sz="1000" b="1" dirty="0"/>
          </a:p>
        </p:txBody>
      </p:sp>
      <p:sp>
        <p:nvSpPr>
          <p:cNvPr id="178" name="TextBox 177"/>
          <p:cNvSpPr txBox="1"/>
          <p:nvPr/>
        </p:nvSpPr>
        <p:spPr>
          <a:xfrm>
            <a:off x="2857643" y="3222946"/>
            <a:ext cx="492443" cy="4118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179" name="TextBox 178"/>
          <p:cNvSpPr txBox="1"/>
          <p:nvPr/>
        </p:nvSpPr>
        <p:spPr>
          <a:xfrm rot="16200000">
            <a:off x="2321616" y="4718679"/>
            <a:ext cx="338554" cy="53722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Tunnel</a:t>
            </a:r>
            <a:endParaRPr lang="en-US" sz="1000" b="1" dirty="0"/>
          </a:p>
        </p:txBody>
      </p:sp>
      <p:sp>
        <p:nvSpPr>
          <p:cNvPr id="180" name="TextBox 179"/>
          <p:cNvSpPr txBox="1"/>
          <p:nvPr/>
        </p:nvSpPr>
        <p:spPr>
          <a:xfrm rot="16200000">
            <a:off x="2796696" y="3796187"/>
            <a:ext cx="338554" cy="57513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A-Pillars</a:t>
            </a:r>
            <a:endParaRPr lang="en-US" sz="1050" b="1" dirty="0"/>
          </a:p>
        </p:txBody>
      </p:sp>
      <p:sp>
        <p:nvSpPr>
          <p:cNvPr id="181" name="TextBox 180"/>
          <p:cNvSpPr txBox="1"/>
          <p:nvPr/>
        </p:nvSpPr>
        <p:spPr>
          <a:xfrm>
            <a:off x="3061417" y="4093770"/>
            <a:ext cx="338554" cy="88826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2" name="TextBox 181"/>
          <p:cNvSpPr txBox="1"/>
          <p:nvPr/>
        </p:nvSpPr>
        <p:spPr>
          <a:xfrm>
            <a:off x="2147118" y="3018786"/>
            <a:ext cx="338554" cy="114195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1000" b="1" dirty="0" smtClean="0"/>
              <a:t>Rails </a:t>
            </a:r>
            <a:r>
              <a:rPr lang="en-US" sz="1000" b="1" dirty="0"/>
              <a:t>&amp; </a:t>
            </a:r>
            <a:r>
              <a:rPr lang="en-US" sz="1000" b="1" dirty="0" err="1"/>
              <a:t>Träger</a:t>
            </a:r>
            <a:endParaRPr lang="en-US" sz="1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719685" y="3930940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ront Floor</a:t>
            </a:r>
            <a:endParaRPr lang="en-US" sz="1000" b="1" dirty="0"/>
          </a:p>
        </p:txBody>
      </p:sp>
      <p:sp>
        <p:nvSpPr>
          <p:cNvPr id="183" name="TextBox 182"/>
          <p:cNvSpPr txBox="1"/>
          <p:nvPr/>
        </p:nvSpPr>
        <p:spPr>
          <a:xfrm>
            <a:off x="3363820" y="3510945"/>
            <a:ext cx="9797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ight Rail</a:t>
            </a:r>
            <a:endParaRPr lang="en-US" sz="1000" b="1" dirty="0"/>
          </a:p>
        </p:txBody>
      </p:sp>
      <p:sp>
        <p:nvSpPr>
          <p:cNvPr id="185" name="TextBox 184"/>
          <p:cNvSpPr txBox="1"/>
          <p:nvPr/>
        </p:nvSpPr>
        <p:spPr>
          <a:xfrm>
            <a:off x="4331708" y="2459305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GEO 1 Rails</a:t>
            </a:r>
            <a:endParaRPr lang="en-US" sz="1000" b="1" dirty="0"/>
          </a:p>
        </p:txBody>
      </p:sp>
      <p:sp>
        <p:nvSpPr>
          <p:cNvPr id="186" name="TextBox 185"/>
          <p:cNvSpPr txBox="1"/>
          <p:nvPr/>
        </p:nvSpPr>
        <p:spPr>
          <a:xfrm>
            <a:off x="4052386" y="4433343"/>
            <a:ext cx="5112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Dash</a:t>
            </a:r>
            <a:endParaRPr lang="en-US" sz="1050" b="1" dirty="0"/>
          </a:p>
        </p:txBody>
      </p:sp>
      <p:sp>
        <p:nvSpPr>
          <p:cNvPr id="188" name="TextBox 187"/>
          <p:cNvSpPr txBox="1"/>
          <p:nvPr/>
        </p:nvSpPr>
        <p:spPr>
          <a:xfrm>
            <a:off x="5335091" y="3100749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1</a:t>
            </a:r>
            <a:endParaRPr lang="en-US" sz="800" b="1" dirty="0"/>
          </a:p>
        </p:txBody>
      </p:sp>
      <p:sp>
        <p:nvSpPr>
          <p:cNvPr id="189" name="TextBox 188"/>
          <p:cNvSpPr txBox="1"/>
          <p:nvPr/>
        </p:nvSpPr>
        <p:spPr>
          <a:xfrm>
            <a:off x="10893535" y="3416406"/>
            <a:ext cx="5150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416 Hood Hatch</a:t>
            </a:r>
            <a:endParaRPr lang="en-US" sz="1000" b="1" dirty="0"/>
          </a:p>
        </p:txBody>
      </p:sp>
      <p:sp>
        <p:nvSpPr>
          <p:cNvPr id="190" name="TextBox 189"/>
          <p:cNvSpPr txBox="1"/>
          <p:nvPr/>
        </p:nvSpPr>
        <p:spPr>
          <a:xfrm>
            <a:off x="10143030" y="3813021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PSD</a:t>
            </a:r>
            <a:endParaRPr lang="en-US" sz="1000" b="1" dirty="0"/>
          </a:p>
        </p:txBody>
      </p:sp>
      <p:sp>
        <p:nvSpPr>
          <p:cNvPr id="191" name="TextBox 190"/>
          <p:cNvSpPr txBox="1"/>
          <p:nvPr/>
        </p:nvSpPr>
        <p:spPr>
          <a:xfrm rot="5400000">
            <a:off x="9626272" y="5616622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ood</a:t>
            </a:r>
            <a:endParaRPr lang="en-US" sz="1000" b="1" dirty="0"/>
          </a:p>
        </p:txBody>
      </p:sp>
      <p:sp>
        <p:nvSpPr>
          <p:cNvPr id="192" name="TextBox 191"/>
          <p:cNvSpPr txBox="1"/>
          <p:nvPr/>
        </p:nvSpPr>
        <p:spPr>
          <a:xfrm>
            <a:off x="9592383" y="5133336"/>
            <a:ext cx="6319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Fenders</a:t>
            </a:r>
            <a:endParaRPr lang="en-US" sz="1000" b="1" dirty="0"/>
          </a:p>
        </p:txBody>
      </p:sp>
      <p:sp>
        <p:nvSpPr>
          <p:cNvPr id="193" name="TextBox 192"/>
          <p:cNvSpPr txBox="1"/>
          <p:nvPr/>
        </p:nvSpPr>
        <p:spPr>
          <a:xfrm rot="5400000">
            <a:off x="9121032" y="5321455"/>
            <a:ext cx="515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Hatch</a:t>
            </a:r>
            <a:endParaRPr lang="en-US" sz="1000" b="1" dirty="0"/>
          </a:p>
        </p:txBody>
      </p:sp>
      <p:sp>
        <p:nvSpPr>
          <p:cNvPr id="194" name="TextBox 193"/>
          <p:cNvSpPr txBox="1"/>
          <p:nvPr/>
        </p:nvSpPr>
        <p:spPr>
          <a:xfrm>
            <a:off x="6890433" y="2525469"/>
            <a:ext cx="9600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Inners Left</a:t>
            </a:r>
            <a:endParaRPr lang="en-US" sz="1000" b="1" dirty="0"/>
          </a:p>
        </p:txBody>
      </p:sp>
      <p:sp>
        <p:nvSpPr>
          <p:cNvPr id="17" name="Rectangle 16"/>
          <p:cNvSpPr/>
          <p:nvPr/>
        </p:nvSpPr>
        <p:spPr>
          <a:xfrm>
            <a:off x="1602581" y="4984338"/>
            <a:ext cx="333375" cy="911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548807" y="4905368"/>
            <a:ext cx="502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NMS</a:t>
            </a:r>
            <a:endParaRPr lang="en-US" sz="1000" b="1" dirty="0"/>
          </a:p>
        </p:txBody>
      </p:sp>
      <p:sp>
        <p:nvSpPr>
          <p:cNvPr id="20" name="Rectangle 19"/>
          <p:cNvSpPr/>
          <p:nvPr/>
        </p:nvSpPr>
        <p:spPr>
          <a:xfrm flipV="1">
            <a:off x="1553137" y="4856092"/>
            <a:ext cx="420919" cy="3987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4051775" y="2381009"/>
            <a:ext cx="426325" cy="406477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TextBox 196"/>
          <p:cNvSpPr txBox="1"/>
          <p:nvPr/>
        </p:nvSpPr>
        <p:spPr>
          <a:xfrm>
            <a:off x="11334335" y="2409368"/>
            <a:ext cx="5780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oupe  Hatch</a:t>
            </a:r>
            <a:endParaRPr lang="en-US" sz="1000" b="1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007574" y="5203032"/>
            <a:ext cx="1" cy="27799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5594528" y="3118728"/>
            <a:ext cx="6499" cy="1699284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5956661" y="3118728"/>
            <a:ext cx="14928" cy="1699284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6330007" y="3100749"/>
            <a:ext cx="6236" cy="1920520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22" name="TextBox 221"/>
          <p:cNvSpPr txBox="1"/>
          <p:nvPr/>
        </p:nvSpPr>
        <p:spPr>
          <a:xfrm>
            <a:off x="397257" y="6409949"/>
            <a:ext cx="146386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rown (NS) Steel 1mm = .4 </a:t>
            </a:r>
            <a:endParaRPr lang="en-US" sz="900" dirty="0"/>
          </a:p>
        </p:txBody>
      </p:sp>
      <p:sp>
        <p:nvSpPr>
          <p:cNvPr id="253" name="TextBox 252"/>
          <p:cNvSpPr txBox="1"/>
          <p:nvPr/>
        </p:nvSpPr>
        <p:spPr>
          <a:xfrm>
            <a:off x="3820842" y="3240947"/>
            <a:ext cx="1089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Rear Floor</a:t>
            </a:r>
            <a:endParaRPr lang="en-US" sz="1000" b="1" dirty="0"/>
          </a:p>
        </p:txBody>
      </p:sp>
      <p:sp>
        <p:nvSpPr>
          <p:cNvPr id="278" name="TextBox 277"/>
          <p:cNvSpPr txBox="1"/>
          <p:nvPr/>
        </p:nvSpPr>
        <p:spPr>
          <a:xfrm>
            <a:off x="2178127" y="6421996"/>
            <a:ext cx="19672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rown steel 0.9mm = .03 (w/ handles)</a:t>
            </a:r>
            <a:endParaRPr lang="en-US" sz="900" dirty="0"/>
          </a:p>
        </p:txBody>
      </p:sp>
      <p:sp>
        <p:nvSpPr>
          <p:cNvPr id="281" name="TextBox 280"/>
          <p:cNvSpPr txBox="1"/>
          <p:nvPr/>
        </p:nvSpPr>
        <p:spPr>
          <a:xfrm>
            <a:off x="401343" y="6239466"/>
            <a:ext cx="13260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Bronze 1mm = .039</a:t>
            </a:r>
            <a:endParaRPr lang="en-US" sz="900" dirty="0"/>
          </a:p>
        </p:txBody>
      </p:sp>
      <p:sp>
        <p:nvSpPr>
          <p:cNvPr id="283" name="TextBox 282"/>
          <p:cNvSpPr txBox="1"/>
          <p:nvPr/>
        </p:nvSpPr>
        <p:spPr>
          <a:xfrm>
            <a:off x="2186425" y="6224787"/>
            <a:ext cx="13869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Bronze 1.6mm =.063</a:t>
            </a:r>
            <a:endParaRPr lang="en-US" sz="900" dirty="0"/>
          </a:p>
        </p:txBody>
      </p:sp>
      <p:sp>
        <p:nvSpPr>
          <p:cNvPr id="285" name="TextBox 284"/>
          <p:cNvSpPr txBox="1"/>
          <p:nvPr/>
        </p:nvSpPr>
        <p:spPr>
          <a:xfrm>
            <a:off x="4508259" y="6250703"/>
            <a:ext cx="147829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Blue Copper 0.8mm = .031  </a:t>
            </a:r>
            <a:endParaRPr lang="en-US" sz="900" dirty="0"/>
          </a:p>
        </p:txBody>
      </p:sp>
      <p:sp>
        <p:nvSpPr>
          <p:cNvPr id="332" name="TextBox 331"/>
          <p:cNvSpPr txBox="1"/>
          <p:nvPr/>
        </p:nvSpPr>
        <p:spPr>
          <a:xfrm>
            <a:off x="6604466" y="5703680"/>
            <a:ext cx="4361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VBT</a:t>
            </a:r>
            <a:endParaRPr lang="en-US" sz="1200" b="1" dirty="0"/>
          </a:p>
        </p:txBody>
      </p:sp>
      <p:sp>
        <p:nvSpPr>
          <p:cNvPr id="334" name="Rectangle 333"/>
          <p:cNvSpPr/>
          <p:nvPr/>
        </p:nvSpPr>
        <p:spPr>
          <a:xfrm>
            <a:off x="5469583" y="4898823"/>
            <a:ext cx="649624" cy="12244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600" dirty="0" smtClean="0">
                <a:solidFill>
                  <a:schemeClr val="tx1"/>
                </a:solidFill>
              </a:rPr>
              <a:t>Maintenance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5679003" y="3102258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2</a:t>
            </a:r>
            <a:endParaRPr lang="en-US" sz="800" b="1" dirty="0"/>
          </a:p>
        </p:txBody>
      </p:sp>
      <p:sp>
        <p:nvSpPr>
          <p:cNvPr id="184" name="TextBox 183"/>
          <p:cNvSpPr txBox="1"/>
          <p:nvPr/>
        </p:nvSpPr>
        <p:spPr>
          <a:xfrm>
            <a:off x="6005182" y="3104448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3</a:t>
            </a:r>
            <a:endParaRPr lang="en-US" sz="800" b="1" dirty="0"/>
          </a:p>
        </p:txBody>
      </p:sp>
      <p:sp>
        <p:nvSpPr>
          <p:cNvPr id="187" name="TextBox 186"/>
          <p:cNvSpPr txBox="1"/>
          <p:nvPr/>
        </p:nvSpPr>
        <p:spPr>
          <a:xfrm>
            <a:off x="6384199" y="3112423"/>
            <a:ext cx="307777" cy="4701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en-US" sz="800" b="1" dirty="0" err="1" smtClean="0"/>
              <a:t>Respot</a:t>
            </a:r>
            <a:r>
              <a:rPr lang="en-US" sz="800" b="1" dirty="0" smtClean="0"/>
              <a:t> 4</a:t>
            </a:r>
            <a:endParaRPr lang="en-US" sz="8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802301" y="3112423"/>
            <a:ext cx="338554" cy="566822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sz="1000" b="1" dirty="0" smtClean="0"/>
              <a:t>Framer </a:t>
            </a:r>
            <a:r>
              <a:rPr lang="en-US" sz="1000" dirty="0" smtClean="0"/>
              <a:t>1</a:t>
            </a:r>
            <a:endParaRPr lang="en-US" sz="1000" dirty="0"/>
          </a:p>
        </p:txBody>
      </p:sp>
      <p:sp>
        <p:nvSpPr>
          <p:cNvPr id="162" name="TextBox 161"/>
          <p:cNvSpPr txBox="1"/>
          <p:nvPr/>
        </p:nvSpPr>
        <p:spPr>
          <a:xfrm>
            <a:off x="2359690" y="4511539"/>
            <a:ext cx="220409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2359690" y="3906614"/>
            <a:ext cx="220409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6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2299362" y="2361516"/>
            <a:ext cx="261688" cy="122178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2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2758650" y="2371268"/>
            <a:ext cx="261820" cy="11610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2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4130342" y="3128672"/>
            <a:ext cx="284320" cy="109613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20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2382335" y="3188921"/>
            <a:ext cx="220409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4422193" y="3128673"/>
            <a:ext cx="272095" cy="10582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20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4178464" y="3610447"/>
            <a:ext cx="303906" cy="127057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29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3" name="TextBox 202"/>
          <p:cNvSpPr txBox="1"/>
          <p:nvPr/>
        </p:nvSpPr>
        <p:spPr>
          <a:xfrm>
            <a:off x="5056087" y="5148943"/>
            <a:ext cx="309282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49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4767899" y="5279675"/>
            <a:ext cx="288188" cy="120567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4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5" name="TextBox 204"/>
          <p:cNvSpPr txBox="1"/>
          <p:nvPr/>
        </p:nvSpPr>
        <p:spPr>
          <a:xfrm rot="5400000">
            <a:off x="5526536" y="4580185"/>
            <a:ext cx="275017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6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6" name="TextBox 205"/>
          <p:cNvSpPr txBox="1"/>
          <p:nvPr/>
        </p:nvSpPr>
        <p:spPr>
          <a:xfrm rot="5400000">
            <a:off x="5526096" y="3720095"/>
            <a:ext cx="253689" cy="116823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6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7" name="TextBox 206"/>
          <p:cNvSpPr txBox="1"/>
          <p:nvPr/>
        </p:nvSpPr>
        <p:spPr>
          <a:xfrm rot="5400000">
            <a:off x="5927888" y="4344186"/>
            <a:ext cx="268959" cy="14151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7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8" name="TextBox 207"/>
          <p:cNvSpPr txBox="1"/>
          <p:nvPr/>
        </p:nvSpPr>
        <p:spPr>
          <a:xfrm rot="5400000">
            <a:off x="5917521" y="4658444"/>
            <a:ext cx="278094" cy="117203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7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09" name="TextBox 208"/>
          <p:cNvSpPr txBox="1"/>
          <p:nvPr/>
        </p:nvSpPr>
        <p:spPr>
          <a:xfrm rot="5400000">
            <a:off x="6260149" y="3327313"/>
            <a:ext cx="321264" cy="112533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0" name="TextBox 209"/>
          <p:cNvSpPr txBox="1"/>
          <p:nvPr/>
        </p:nvSpPr>
        <p:spPr>
          <a:xfrm rot="5400000">
            <a:off x="6277408" y="4357103"/>
            <a:ext cx="270762" cy="127121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1" name="TextBox 210"/>
          <p:cNvSpPr txBox="1"/>
          <p:nvPr/>
        </p:nvSpPr>
        <p:spPr>
          <a:xfrm rot="5400000">
            <a:off x="6261604" y="4750681"/>
            <a:ext cx="310300" cy="11432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2" name="TextBox 211"/>
          <p:cNvSpPr txBox="1"/>
          <p:nvPr/>
        </p:nvSpPr>
        <p:spPr>
          <a:xfrm rot="5400000">
            <a:off x="6438467" y="3881944"/>
            <a:ext cx="270335" cy="13249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3" name="TextBox 212"/>
          <p:cNvSpPr txBox="1"/>
          <p:nvPr/>
        </p:nvSpPr>
        <p:spPr>
          <a:xfrm rot="5400000">
            <a:off x="6425850" y="4186696"/>
            <a:ext cx="297593" cy="12798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9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>
          <a:xfrm rot="5400000">
            <a:off x="6432288" y="4495080"/>
            <a:ext cx="274309" cy="111197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9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5" name="TextBox 214"/>
          <p:cNvSpPr txBox="1"/>
          <p:nvPr/>
        </p:nvSpPr>
        <p:spPr>
          <a:xfrm rot="5400000">
            <a:off x="6434521" y="4804078"/>
            <a:ext cx="280894" cy="105552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96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6" name="TextBox 215"/>
          <p:cNvSpPr txBox="1"/>
          <p:nvPr/>
        </p:nvSpPr>
        <p:spPr>
          <a:xfrm rot="5400000">
            <a:off x="6121497" y="4406633"/>
            <a:ext cx="263909" cy="125865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7" name="TextBox 216"/>
          <p:cNvSpPr txBox="1"/>
          <p:nvPr/>
        </p:nvSpPr>
        <p:spPr>
          <a:xfrm rot="5551817">
            <a:off x="6109647" y="4696900"/>
            <a:ext cx="286368" cy="125312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6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8" name="TextBox 217"/>
          <p:cNvSpPr txBox="1"/>
          <p:nvPr/>
        </p:nvSpPr>
        <p:spPr>
          <a:xfrm rot="5400000">
            <a:off x="6698201" y="4248485"/>
            <a:ext cx="309622" cy="108812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65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19" name="TextBox 218"/>
          <p:cNvSpPr txBox="1"/>
          <p:nvPr/>
        </p:nvSpPr>
        <p:spPr>
          <a:xfrm rot="16200000">
            <a:off x="6936424" y="4184174"/>
            <a:ext cx="286715" cy="12215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90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8446957" y="3190274"/>
            <a:ext cx="278050" cy="13398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68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8448741" y="3504976"/>
            <a:ext cx="280274" cy="138172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94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3" name="TextBox 222"/>
          <p:cNvSpPr txBox="1"/>
          <p:nvPr/>
        </p:nvSpPr>
        <p:spPr>
          <a:xfrm>
            <a:off x="7539682" y="3831429"/>
            <a:ext cx="284337" cy="12297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91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7532727" y="4079910"/>
            <a:ext cx="291292" cy="13893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1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8545506" y="4739839"/>
            <a:ext cx="284276" cy="119025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1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8224864" y="4739839"/>
            <a:ext cx="283351" cy="11973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13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7644452" y="4750382"/>
            <a:ext cx="274817" cy="107641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11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9051249" y="3457522"/>
            <a:ext cx="299373" cy="136050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9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29" name="TextBox 228"/>
          <p:cNvSpPr txBox="1"/>
          <p:nvPr/>
        </p:nvSpPr>
        <p:spPr>
          <a:xfrm rot="18394924">
            <a:off x="6138021" y="6026630"/>
            <a:ext cx="388731" cy="118133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2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0" name="TextBox 229"/>
          <p:cNvSpPr txBox="1"/>
          <p:nvPr/>
        </p:nvSpPr>
        <p:spPr>
          <a:xfrm rot="18056565">
            <a:off x="6702062" y="6040083"/>
            <a:ext cx="368604" cy="11457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2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1" name="TextBox 230"/>
          <p:cNvSpPr txBox="1"/>
          <p:nvPr/>
        </p:nvSpPr>
        <p:spPr>
          <a:xfrm>
            <a:off x="11234693" y="2156198"/>
            <a:ext cx="327191" cy="151369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315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10972080" y="984738"/>
            <a:ext cx="362255" cy="12745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305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8528640" y="4982039"/>
            <a:ext cx="315143" cy="124418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1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4" name="TextBox 233"/>
          <p:cNvSpPr txBox="1"/>
          <p:nvPr/>
        </p:nvSpPr>
        <p:spPr>
          <a:xfrm>
            <a:off x="8241792" y="4982040"/>
            <a:ext cx="260440" cy="124262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7688922" y="4970133"/>
            <a:ext cx="252605" cy="129168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9919676" y="3464388"/>
            <a:ext cx="369174" cy="129864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22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217769" y="6455619"/>
            <a:ext cx="220409" cy="126036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8262505" y="3844335"/>
            <a:ext cx="299765" cy="126036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93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7952238" y="3844335"/>
            <a:ext cx="259559" cy="127935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93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223231" y="6298617"/>
            <a:ext cx="217586" cy="12337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8248403" y="4089136"/>
            <a:ext cx="313867" cy="12985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3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7922389" y="4079910"/>
            <a:ext cx="278389" cy="13693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3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7491722" y="4313809"/>
            <a:ext cx="303862" cy="110636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4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4" name="TextBox 243"/>
          <p:cNvSpPr txBox="1"/>
          <p:nvPr/>
        </p:nvSpPr>
        <p:spPr>
          <a:xfrm>
            <a:off x="7481831" y="4543058"/>
            <a:ext cx="268184" cy="116607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2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5" name="TextBox 244"/>
          <p:cNvSpPr txBox="1"/>
          <p:nvPr/>
        </p:nvSpPr>
        <p:spPr>
          <a:xfrm>
            <a:off x="7947305" y="4739839"/>
            <a:ext cx="252924" cy="13040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1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7356960" y="4743713"/>
            <a:ext cx="272847" cy="122905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6767767" y="4970132"/>
            <a:ext cx="273526" cy="119620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7057040" y="4970132"/>
            <a:ext cx="313395" cy="119620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6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7385836" y="4970655"/>
            <a:ext cx="292249" cy="117837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0" name="TextBox 249"/>
          <p:cNvSpPr txBox="1"/>
          <p:nvPr/>
        </p:nvSpPr>
        <p:spPr>
          <a:xfrm rot="18267034">
            <a:off x="6527837" y="5636079"/>
            <a:ext cx="316598" cy="11110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06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1" name="TextBox 250"/>
          <p:cNvSpPr txBox="1"/>
          <p:nvPr/>
        </p:nvSpPr>
        <p:spPr>
          <a:xfrm rot="18508666">
            <a:off x="6120002" y="5603192"/>
            <a:ext cx="316125" cy="103375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1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2" name="TextBox 251"/>
          <p:cNvSpPr txBox="1"/>
          <p:nvPr/>
        </p:nvSpPr>
        <p:spPr>
          <a:xfrm rot="18187980">
            <a:off x="6372724" y="6031669"/>
            <a:ext cx="344056" cy="126036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26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10359796" y="3689833"/>
            <a:ext cx="309387" cy="142364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28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10072867" y="2804746"/>
            <a:ext cx="346018" cy="136555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06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8732364" y="2801257"/>
            <a:ext cx="318885" cy="139791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00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7094278" y="4748459"/>
            <a:ext cx="252977" cy="123266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9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8" name="TextBox 257"/>
          <p:cNvSpPr txBox="1"/>
          <p:nvPr/>
        </p:nvSpPr>
        <p:spPr>
          <a:xfrm>
            <a:off x="6820172" y="4748459"/>
            <a:ext cx="253792" cy="12377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7957689" y="4984339"/>
            <a:ext cx="256542" cy="12211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703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60" name="TextBox 259"/>
          <p:cNvSpPr txBox="1"/>
          <p:nvPr/>
        </p:nvSpPr>
        <p:spPr>
          <a:xfrm rot="17841988">
            <a:off x="6931882" y="6026410"/>
            <a:ext cx="339982" cy="127322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2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61" name="TextBox 260"/>
          <p:cNvSpPr txBox="1"/>
          <p:nvPr/>
        </p:nvSpPr>
        <p:spPr>
          <a:xfrm rot="17961002">
            <a:off x="7065012" y="5610613"/>
            <a:ext cx="337668" cy="102809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02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80" name="TextBox 279"/>
          <p:cNvSpPr txBox="1"/>
          <p:nvPr/>
        </p:nvSpPr>
        <p:spPr>
          <a:xfrm rot="16200000">
            <a:off x="5748803" y="3996300"/>
            <a:ext cx="289681" cy="126038"/>
          </a:xfrm>
          <a:prstGeom prst="rect">
            <a:avLst/>
          </a:prstGeom>
          <a:solidFill>
            <a:srgbClr val="0070C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70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1999312" y="6281211"/>
            <a:ext cx="220409" cy="12404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35" name="TextBox 334"/>
          <p:cNvSpPr txBox="1"/>
          <p:nvPr/>
        </p:nvSpPr>
        <p:spPr>
          <a:xfrm>
            <a:off x="4300169" y="6298616"/>
            <a:ext cx="207275" cy="144643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en-US" sz="800" b="1" dirty="0"/>
          </a:p>
        </p:txBody>
      </p:sp>
      <p:sp>
        <p:nvSpPr>
          <p:cNvPr id="336" name="TextBox 335"/>
          <p:cNvSpPr txBox="1"/>
          <p:nvPr/>
        </p:nvSpPr>
        <p:spPr>
          <a:xfrm>
            <a:off x="1999312" y="6466022"/>
            <a:ext cx="220409" cy="126036"/>
          </a:xfrm>
          <a:prstGeom prst="rect">
            <a:avLst/>
          </a:prstGeom>
          <a:solidFill>
            <a:srgbClr val="6633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39" name="TextBox 338"/>
          <p:cNvSpPr txBox="1"/>
          <p:nvPr/>
        </p:nvSpPr>
        <p:spPr>
          <a:xfrm rot="17751310">
            <a:off x="7161053" y="6028053"/>
            <a:ext cx="308107" cy="13289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/>
              <a:t>W5020</a:t>
            </a:r>
            <a:endParaRPr lang="en-US" sz="800" b="1" dirty="0"/>
          </a:p>
        </p:txBody>
      </p:sp>
      <p:sp>
        <p:nvSpPr>
          <p:cNvPr id="340" name="TextBox 339"/>
          <p:cNvSpPr txBox="1"/>
          <p:nvPr/>
        </p:nvSpPr>
        <p:spPr>
          <a:xfrm>
            <a:off x="9701458" y="1643956"/>
            <a:ext cx="323463" cy="124085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/>
              <a:t>W3205</a:t>
            </a:r>
            <a:endParaRPr lang="en-US" sz="800" b="1" dirty="0"/>
          </a:p>
        </p:txBody>
      </p:sp>
      <p:sp>
        <p:nvSpPr>
          <p:cNvPr id="341" name="TextBox 340"/>
          <p:cNvSpPr txBox="1"/>
          <p:nvPr/>
        </p:nvSpPr>
        <p:spPr>
          <a:xfrm rot="18002145">
            <a:off x="7244441" y="5622513"/>
            <a:ext cx="310680" cy="126179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/>
              <a:t>W5000</a:t>
            </a:r>
            <a:endParaRPr lang="en-US" sz="800" b="1" dirty="0"/>
          </a:p>
        </p:txBody>
      </p:sp>
      <p:sp>
        <p:nvSpPr>
          <p:cNvPr id="342" name="TextBox 341"/>
          <p:cNvSpPr txBox="1"/>
          <p:nvPr/>
        </p:nvSpPr>
        <p:spPr>
          <a:xfrm>
            <a:off x="8295191" y="4313809"/>
            <a:ext cx="267783" cy="143891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4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3" name="TextBox 342"/>
          <p:cNvSpPr txBox="1"/>
          <p:nvPr/>
        </p:nvSpPr>
        <p:spPr>
          <a:xfrm>
            <a:off x="8283348" y="4556043"/>
            <a:ext cx="278922" cy="99748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827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4" name="TextBox 343"/>
          <p:cNvSpPr txBox="1"/>
          <p:nvPr/>
        </p:nvSpPr>
        <p:spPr>
          <a:xfrm>
            <a:off x="11408579" y="3480377"/>
            <a:ext cx="353384" cy="12766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136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5" name="TextBox 344"/>
          <p:cNvSpPr txBox="1"/>
          <p:nvPr/>
        </p:nvSpPr>
        <p:spPr>
          <a:xfrm>
            <a:off x="11137506" y="2562299"/>
            <a:ext cx="306906" cy="12977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2825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6" name="TextBox 345"/>
          <p:cNvSpPr txBox="1"/>
          <p:nvPr/>
        </p:nvSpPr>
        <p:spPr>
          <a:xfrm rot="7354012" flipV="1">
            <a:off x="6871856" y="5577181"/>
            <a:ext cx="328730" cy="123391"/>
          </a:xfrm>
          <a:prstGeom prst="rect">
            <a:avLst/>
          </a:prstGeom>
          <a:solidFill>
            <a:srgbClr val="6633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04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7" name="TextBox 346"/>
          <p:cNvSpPr txBox="1"/>
          <p:nvPr/>
        </p:nvSpPr>
        <p:spPr>
          <a:xfrm rot="18328838">
            <a:off x="6327411" y="5609865"/>
            <a:ext cx="339876" cy="121533"/>
          </a:xfrm>
          <a:prstGeom prst="rect">
            <a:avLst/>
          </a:prstGeom>
          <a:solidFill>
            <a:srgbClr val="6633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008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348" name="TextBox 347"/>
          <p:cNvSpPr txBox="1"/>
          <p:nvPr/>
        </p:nvSpPr>
        <p:spPr>
          <a:xfrm rot="5400000">
            <a:off x="6270007" y="4051367"/>
            <a:ext cx="296401" cy="117271"/>
          </a:xfrm>
          <a:prstGeom prst="rect">
            <a:avLst/>
          </a:prstGeom>
          <a:solidFill>
            <a:srgbClr val="663300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bg1"/>
                </a:solidFill>
              </a:rPr>
              <a:t>W582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150" name="Straight Connector 149"/>
          <p:cNvCxnSpPr/>
          <p:nvPr/>
        </p:nvCxnSpPr>
        <p:spPr>
          <a:xfrm flipH="1">
            <a:off x="5569998" y="3112423"/>
            <a:ext cx="6499" cy="1699284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 flipH="1">
            <a:off x="5966586" y="3129714"/>
            <a:ext cx="6499" cy="1699284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 flipH="1">
            <a:off x="6309317" y="3129714"/>
            <a:ext cx="6499" cy="1699284"/>
          </a:xfrm>
          <a:prstGeom prst="line">
            <a:avLst/>
          </a:prstGeom>
          <a:ln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259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8</Words>
  <Application>Microsoft Office PowerPoint</Application>
  <PresentationFormat>Widescreen</PresentationFormat>
  <Paragraphs>426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Sealant Pad Number Locations</vt:lpstr>
      <vt:lpstr>Weld Wire Locations</vt:lpstr>
      <vt:lpstr>Weld Wire Locations</vt:lpstr>
    </vt:vector>
  </TitlesOfParts>
  <Company>VOLKSWAGE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3 Universal Dolly</dc:title>
  <dc:creator>Hatch, John (CE-M)</dc:creator>
  <cp:lastModifiedBy>Jewell, James</cp:lastModifiedBy>
  <cp:revision>548</cp:revision>
  <cp:lastPrinted>2019-08-15T18:25:03Z</cp:lastPrinted>
  <dcterms:created xsi:type="dcterms:W3CDTF">2017-09-04T13:36:06Z</dcterms:created>
  <dcterms:modified xsi:type="dcterms:W3CDTF">2019-08-26T13:19:16Z</dcterms:modified>
</cp:coreProperties>
</file>